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8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73" r:id="rId1"/>
  </p:sldMasterIdLst>
  <p:notesMasterIdLst>
    <p:notesMasterId r:id="rId29"/>
  </p:notesMasterIdLst>
  <p:handoutMasterIdLst>
    <p:handoutMasterId r:id="rId30"/>
  </p:handoutMasterIdLst>
  <p:sldIdLst>
    <p:sldId id="470" r:id="rId2"/>
    <p:sldId id="389" r:id="rId3"/>
    <p:sldId id="391" r:id="rId4"/>
    <p:sldId id="484" r:id="rId5"/>
    <p:sldId id="521" r:id="rId6"/>
    <p:sldId id="479" r:id="rId7"/>
    <p:sldId id="333" r:id="rId8"/>
    <p:sldId id="522" r:id="rId9"/>
    <p:sldId id="523" r:id="rId10"/>
    <p:sldId id="504" r:id="rId11"/>
    <p:sldId id="507" r:id="rId12"/>
    <p:sldId id="505" r:id="rId13"/>
    <p:sldId id="342" r:id="rId14"/>
    <p:sldId id="270" r:id="rId15"/>
    <p:sldId id="460" r:id="rId16"/>
    <p:sldId id="511" r:id="rId17"/>
    <p:sldId id="512" r:id="rId18"/>
    <p:sldId id="469" r:id="rId19"/>
    <p:sldId id="516" r:id="rId20"/>
    <p:sldId id="517" r:id="rId21"/>
    <p:sldId id="435" r:id="rId22"/>
    <p:sldId id="348" r:id="rId23"/>
    <p:sldId id="448" r:id="rId24"/>
    <p:sldId id="519" r:id="rId25"/>
    <p:sldId id="520" r:id="rId26"/>
    <p:sldId id="525" r:id="rId27"/>
    <p:sldId id="394" r:id="rId28"/>
  </p:sldIdLst>
  <p:sldSz cx="9144000" cy="6858000" type="screen4x3"/>
  <p:notesSz cx="6797675" cy="9874250"/>
  <p:custDataLst>
    <p:tags r:id="rId3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9D2B"/>
    <a:srgbClr val="0033CC"/>
    <a:srgbClr val="FFCCFF"/>
    <a:srgbClr val="44700E"/>
    <a:srgbClr val="000099"/>
    <a:srgbClr val="D7DAC8"/>
    <a:srgbClr val="003296"/>
    <a:srgbClr val="1B4DED"/>
    <a:srgbClr val="FFE8D1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20879" autoAdjust="0"/>
    <p:restoredTop sz="99771" autoAdjust="0"/>
  </p:normalViewPr>
  <p:slideViewPr>
    <p:cSldViewPr>
      <p:cViewPr varScale="1">
        <p:scale>
          <a:sx n="113" d="100"/>
          <a:sy n="113" d="100"/>
        </p:scale>
        <p:origin x="-150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599293075459112E-2"/>
          <c:y val="2.3206485829059931E-2"/>
          <c:w val="0.9268687776943626"/>
          <c:h val="0.81954855893204848"/>
        </c:manualLayout>
      </c:layout>
      <c:barChart>
        <c:barDir val="col"/>
        <c:grouping val="stacke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ефицит (-)/Профицит(+)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8.568918620462591E-3"/>
                  <c:y val="-1.6637405785322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0A5-45F5-8356-7E1F6798A23E}"/>
                </c:ext>
              </c:extLst>
            </c:dLbl>
            <c:dLbl>
              <c:idx val="1"/>
              <c:layout>
                <c:manualLayout>
                  <c:x val="-1.8886481395100933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023-4A3D-9BA7-ED20E12C6A95}"/>
                </c:ext>
              </c:extLst>
            </c:dLbl>
            <c:dLbl>
              <c:idx val="2"/>
              <c:layout>
                <c:manualLayout>
                  <c:x val="4.2844593102312886E-3"/>
                  <c:y val="-6.1213958682868264E-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7.7420179735879391E-2"/>
                      <c:h val="9.76760988545132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023-4A3D-9BA7-ED20E12C6A95}"/>
                </c:ext>
              </c:extLst>
            </c:dLbl>
            <c:dLbl>
              <c:idx val="3"/>
              <c:layout>
                <c:manualLayout>
                  <c:x val="1.7137837240925154E-2"/>
                  <c:y val="-1.55439600278331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023-4A3D-9BA7-ED20E12C6A95}"/>
                </c:ext>
              </c:extLst>
            </c:dLbl>
            <c:dLbl>
              <c:idx val="4"/>
              <c:layout>
                <c:manualLayout>
                  <c:x val="1.3424639172058045E-3"/>
                  <c:y val="2.582077868540924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023-4A3D-9BA7-ED20E12C6A95}"/>
                </c:ext>
              </c:extLst>
            </c:dLbl>
            <c:dLbl>
              <c:idx val="5"/>
              <c:layout>
                <c:manualLayout>
                  <c:x val="2.8563062068207553E-3"/>
                  <c:y val="3.441412211508662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023-4A3D-9BA7-ED20E12C6A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факт 2019</c:v>
                </c:pt>
                <c:pt idx="1">
                  <c:v>факт 2020</c:v>
                </c:pt>
                <c:pt idx="2">
                  <c:v>план 2021</c:v>
                </c:pt>
                <c:pt idx="3">
                  <c:v> прогноз 2022</c:v>
                </c:pt>
              </c:strCache>
            </c:strRef>
          </c:cat>
          <c:val>
            <c:numRef>
              <c:f>Лист1!$D$2:$D$5</c:f>
              <c:numCache>
                <c:formatCode>#,##0.0</c:formatCode>
                <c:ptCount val="4"/>
                <c:pt idx="0">
                  <c:v>-8.7999999999999545</c:v>
                </c:pt>
                <c:pt idx="1">
                  <c:v>2.3999999999999773</c:v>
                </c:pt>
                <c:pt idx="2">
                  <c:v>-8.7999999999999545</c:v>
                </c:pt>
                <c:pt idx="3">
                  <c:v>12.7999999999999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023-4A3D-9BA7-ED20E12C6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76556160"/>
        <c:axId val="76554624"/>
      </c:barChar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ln>
              <a:solidFill>
                <a:schemeClr val="accent3">
                  <a:lumMod val="50000"/>
                </a:schemeClr>
              </a:solidFill>
            </a:ln>
          </c:spPr>
          <c:marker>
            <c:symbol val="diamond"/>
            <c:size val="11"/>
            <c:spPr>
              <a:solidFill>
                <a:schemeClr val="accent3">
                  <a:lumMod val="50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4814886618137954E-2"/>
                  <c:y val="4.9029639981522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023-4A3D-9BA7-ED20E12C6A95}"/>
                </c:ext>
              </c:extLst>
            </c:dLbl>
            <c:dLbl>
              <c:idx val="1"/>
              <c:layout>
                <c:manualLayout>
                  <c:x val="-3.6243152174548647E-2"/>
                  <c:y val="-5.71173743853022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7023-4A3D-9BA7-ED20E12C6A95}"/>
                </c:ext>
              </c:extLst>
            </c:dLbl>
            <c:dLbl>
              <c:idx val="2"/>
              <c:layout>
                <c:manualLayout>
                  <c:x val="-5.1952723859063105E-2"/>
                  <c:y val="6.99154772276764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7023-4A3D-9BA7-ED20E12C6A95}"/>
                </c:ext>
              </c:extLst>
            </c:dLbl>
            <c:dLbl>
              <c:idx val="3"/>
              <c:layout>
                <c:manualLayout>
                  <c:x val="5.2091603314394748E-3"/>
                  <c:y val="-8.017749489822768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7023-4A3D-9BA7-ED20E12C6A95}"/>
                </c:ext>
              </c:extLst>
            </c:dLbl>
            <c:dLbl>
              <c:idx val="5"/>
              <c:layout>
                <c:manualLayout>
                  <c:x val="2.3313756015673256E-3"/>
                  <c:y val="-3.12242353188827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023-4A3D-9BA7-ED20E12C6A95}"/>
                </c:ext>
              </c:extLst>
            </c:dLbl>
            <c:dLbl>
              <c:idx val="6"/>
              <c:layout>
                <c:manualLayout>
                  <c:x val="-4.034892366735323E-2"/>
                  <c:y val="-3.81861810676006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023-4A3D-9BA7-ED20E12C6A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факт 2019</c:v>
                </c:pt>
                <c:pt idx="1">
                  <c:v>факт 2020</c:v>
                </c:pt>
                <c:pt idx="2">
                  <c:v>план 2021</c:v>
                </c:pt>
                <c:pt idx="3">
                  <c:v> прогноз 2022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831</c:v>
                </c:pt>
                <c:pt idx="1">
                  <c:v>816.1</c:v>
                </c:pt>
                <c:pt idx="2">
                  <c:v>831</c:v>
                </c:pt>
                <c:pt idx="3">
                  <c:v>714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7023-4A3D-9BA7-ED20E12C6A9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9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4.781456590218118E-2"/>
                  <c:y val="-7.455659166525360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839,8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7023-4A3D-9BA7-ED20E12C6A95}"/>
                </c:ext>
              </c:extLst>
            </c:dLbl>
            <c:dLbl>
              <c:idx val="1"/>
              <c:layout>
                <c:manualLayout>
                  <c:x val="-4.4097994243306009E-2"/>
                  <c:y val="7.04837620381361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6.650189303380652E-2"/>
                      <c:h val="7.214896444254731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7023-4A3D-9BA7-ED20E12C6A95}"/>
                </c:ext>
              </c:extLst>
            </c:dLbl>
            <c:dLbl>
              <c:idx val="2"/>
              <c:layout>
                <c:manualLayout>
                  <c:x val="-3.0530427307906661E-2"/>
                  <c:y val="-6.06327001678176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7023-4A3D-9BA7-ED20E12C6A95}"/>
                </c:ext>
              </c:extLst>
            </c:dLbl>
            <c:dLbl>
              <c:idx val="3"/>
              <c:layout>
                <c:manualLayout>
                  <c:x val="-6.9051764814895607E-3"/>
                  <c:y val="3.934668808728854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01,5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7.3392787984261978E-2"/>
                      <c:h val="5.358377577929937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7023-4A3D-9BA7-ED20E12C6A95}"/>
                </c:ext>
              </c:extLst>
            </c:dLbl>
            <c:dLbl>
              <c:idx val="5"/>
              <c:layout>
                <c:manualLayout>
                  <c:x val="-4.4861887474130197E-2"/>
                  <c:y val="5.21102552932715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023-4A3D-9BA7-ED20E12C6A95}"/>
                </c:ext>
              </c:extLst>
            </c:dLbl>
            <c:dLbl>
              <c:idx val="6"/>
              <c:layout>
                <c:manualLayout>
                  <c:x val="-4.1341546300723495E-2"/>
                  <c:y val="3.58657152129295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023-4A3D-9BA7-ED20E12C6A95}"/>
                </c:ext>
              </c:extLst>
            </c:dLbl>
            <c:dLbl>
              <c:idx val="7"/>
              <c:layout>
                <c:manualLayout>
                  <c:x val="-3.9245647281718525E-2"/>
                  <c:y val="-3.97468629216636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4,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7023-4A3D-9BA7-ED20E12C6A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факт 2019</c:v>
                </c:pt>
                <c:pt idx="1">
                  <c:v>факт 2020</c:v>
                </c:pt>
                <c:pt idx="2">
                  <c:v>план 2021</c:v>
                </c:pt>
                <c:pt idx="3">
                  <c:v> прогноз 2022</c:v>
                </c:pt>
              </c:strCache>
            </c:str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839.8</c:v>
                </c:pt>
                <c:pt idx="1">
                  <c:v>813.7</c:v>
                </c:pt>
                <c:pt idx="2">
                  <c:v>839.8</c:v>
                </c:pt>
                <c:pt idx="3">
                  <c:v>701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4-7023-4A3D-9BA7-ED20E12C6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025152"/>
        <c:axId val="127028608"/>
      </c:lineChart>
      <c:catAx>
        <c:axId val="127025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27028608"/>
        <c:crosses val="autoZero"/>
        <c:auto val="1"/>
        <c:lblAlgn val="ctr"/>
        <c:lblOffset val="100"/>
        <c:noMultiLvlLbl val="0"/>
      </c:catAx>
      <c:valAx>
        <c:axId val="127028608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solidFill>
                  <a:schemeClr val="bg1">
                    <a:lumMod val="95000"/>
                  </a:schemeClr>
                </a:solidFill>
              </a:defRPr>
            </a:pPr>
            <a:endParaRPr lang="ru-RU"/>
          </a:p>
        </c:txPr>
        <c:crossAx val="127025152"/>
        <c:crosses val="autoZero"/>
        <c:crossBetween val="between"/>
      </c:valAx>
      <c:valAx>
        <c:axId val="76554624"/>
        <c:scaling>
          <c:orientation val="minMax"/>
          <c:max val="30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chemeClr val="bg1">
                    <a:lumMod val="95000"/>
                  </a:schemeClr>
                </a:solidFill>
              </a:defRPr>
            </a:pPr>
            <a:endParaRPr lang="ru-RU"/>
          </a:p>
        </c:txPr>
        <c:crossAx val="76556160"/>
        <c:crosses val="max"/>
        <c:crossBetween val="between"/>
      </c:valAx>
      <c:catAx>
        <c:axId val="76556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7655462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2445348966399498"/>
          <c:y val="0.94681310994684786"/>
          <c:w val="0.55966182683947241"/>
          <c:h val="5.318689005315199E-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50"/>
      <c:rotY val="100"/>
      <c:rAngAx val="0"/>
      <c:perspective val="1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5.1134768030214175E-2"/>
          <c:w val="1"/>
          <c:h val="0.93642584233899862"/>
        </c:manualLayout>
      </c:layout>
      <c:pie3DChart>
        <c:varyColors val="1"/>
        <c:ser>
          <c:idx val="0"/>
          <c:order val="0"/>
          <c:tx>
            <c:strRef>
              <c:f>Лист1!$A$13</c:f>
              <c:strCache>
                <c:ptCount val="1"/>
                <c:pt idx="0">
                  <c:v>образование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h="285750"/>
              <a:bevelB h="152400"/>
              <a:contourClr>
                <a:srgbClr val="000000"/>
              </a:contourClr>
            </a:sp3d>
          </c:spPr>
          <c:explosion val="2"/>
          <c:dPt>
            <c:idx val="0"/>
            <c:bubble3D val="0"/>
            <c:explosion val="7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h="285750"/>
                <a:bevelB h="152400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4C1-4958-8548-A3FD594FE92A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 h="285750"/>
                <a:bevelB h="152400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4C1-4958-8548-A3FD594FE92A}"/>
              </c:ext>
            </c:extLst>
          </c:dPt>
          <c:dPt>
            <c:idx val="2"/>
            <c:bubble3D val="0"/>
            <c:spPr>
              <a:solidFill>
                <a:srgbClr val="FAF78E"/>
              </a:solidFill>
              <a:scene3d>
                <a:camera prst="orthographicFront"/>
                <a:lightRig rig="threePt" dir="t"/>
              </a:scene3d>
              <a:sp3d>
                <a:bevelT h="285750"/>
                <a:bevelB h="152400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4C1-4958-8548-A3FD594FE92A}"/>
              </c:ext>
            </c:extLst>
          </c:dPt>
          <c:dPt>
            <c:idx val="3"/>
            <c:bubble3D val="0"/>
            <c:explosion val="0"/>
            <c:spPr>
              <a:solidFill>
                <a:schemeClr val="accent6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h="285750"/>
                <a:bevelB h="152400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4C1-4958-8548-A3FD594FE92A}"/>
              </c:ext>
            </c:extLst>
          </c:dPt>
          <c:cat>
            <c:multiLvlStrRef>
              <c:f>Лист1!$B$11:$E$12</c:f>
              <c:multiLvlStrCache>
                <c:ptCount val="4"/>
                <c:lvl>
                  <c:pt idx="0">
                    <c:v>Заработная плата</c:v>
                  </c:pt>
                  <c:pt idx="1">
                    <c:v>Учебники</c:v>
                  </c:pt>
                  <c:pt idx="2">
                    <c:v>Заработная плата</c:v>
                  </c:pt>
                  <c:pt idx="3">
                    <c:v>Учебники</c:v>
                  </c:pt>
                </c:lvl>
                <c:lvl>
                  <c:pt idx="0">
                    <c:v>Общее</c:v>
                  </c:pt>
                  <c:pt idx="2">
                    <c:v>Дошкольное</c:v>
                  </c:pt>
                </c:lvl>
              </c:multiLvlStrCache>
            </c:multiLvlStrRef>
          </c:cat>
          <c:val>
            <c:numRef>
              <c:f>Лист1!$B$13:$E$13</c:f>
              <c:numCache>
                <c:formatCode>General</c:formatCode>
                <c:ptCount val="4"/>
                <c:pt idx="0">
                  <c:v>119.1</c:v>
                </c:pt>
                <c:pt idx="1">
                  <c:v>4.2</c:v>
                </c:pt>
                <c:pt idx="2">
                  <c:v>42.1</c:v>
                </c:pt>
                <c:pt idx="3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4C1-4958-8548-A3FD594FE9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zero"/>
    <c:showDLblsOverMax val="0"/>
  </c:chart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953266505456149E-2"/>
          <c:y val="1.4739083844966673E-2"/>
          <c:w val="0.86114944259447235"/>
          <c:h val="0.777402844051510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Государственный долг на конец года, млн. рублей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5063077526694857E-3"/>
                  <c:y val="2.252380872994449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EDB-4629-BF36-35C0A27908B7}"/>
                </c:ext>
              </c:extLst>
            </c:dLbl>
            <c:dLbl>
              <c:idx val="2"/>
              <c:layout>
                <c:manualLayout>
                  <c:x val="4.5189232580084568E-3"/>
                  <c:y val="-2.702857047593348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EDB-4629-BF36-35C0A27908B7}"/>
                </c:ext>
              </c:extLst>
            </c:dLbl>
            <c:dLbl>
              <c:idx val="3"/>
              <c:layout>
                <c:manualLayout>
                  <c:x val="3.0126155053389714E-3"/>
                  <c:y val="1.126190436497233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EDB-4629-BF36-35C0A27908B7}"/>
                </c:ext>
              </c:extLst>
            </c:dLbl>
            <c:dLbl>
              <c:idx val="7"/>
              <c:layout>
                <c:manualLayout>
                  <c:x val="3.0126155053389714E-3"/>
                  <c:y val="4.504761745988901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DB-4629-BF36-35C0A27908B7}"/>
                </c:ext>
              </c:extLst>
            </c:dLbl>
            <c:dLbl>
              <c:idx val="9"/>
              <c:layout>
                <c:manualLayout>
                  <c:x val="0"/>
                  <c:y val="6.95095019124236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EDB-4629-BF36-35C0A27908B7}"/>
                </c:ext>
              </c:extLst>
            </c:dLbl>
            <c:dLbl>
              <c:idx val="12"/>
              <c:layout>
                <c:manualLayout>
                  <c:x val="-2.4364769785143172E-4"/>
                  <c:y val="-9.398634247310954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EDB-4629-BF36-35C0A27908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B$2:$B$9</c:f>
              <c:numCache>
                <c:formatCode>#,##0</c:formatCode>
                <c:ptCount val="8"/>
                <c:pt idx="0">
                  <c:v>41695</c:v>
                </c:pt>
                <c:pt idx="1">
                  <c:v>26000</c:v>
                </c:pt>
                <c:pt idx="2">
                  <c:v>38000</c:v>
                </c:pt>
                <c:pt idx="3">
                  <c:v>35975</c:v>
                </c:pt>
                <c:pt idx="4">
                  <c:v>35552</c:v>
                </c:pt>
                <c:pt idx="5">
                  <c:v>36012</c:v>
                </c:pt>
                <c:pt idx="6">
                  <c:v>30496</c:v>
                </c:pt>
                <c:pt idx="7">
                  <c:v>176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EDB-4629-BF36-35C0A279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2"/>
        <c:axId val="132745472"/>
        <c:axId val="132759552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Долг к доходам без учета безвозмездных поступлений, %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6113787673705738E-2"/>
                  <c:y val="6.41256381598011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EDB-4629-BF36-35C0A27908B7}"/>
                </c:ext>
              </c:extLst>
            </c:dLbl>
            <c:dLbl>
              <c:idx val="1"/>
              <c:layout>
                <c:manualLayout>
                  <c:x val="-3.1350771395619037E-2"/>
                  <c:y val="4.59209027684421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EDB-4629-BF36-35C0A27908B7}"/>
                </c:ext>
              </c:extLst>
            </c:dLbl>
            <c:dLbl>
              <c:idx val="2"/>
              <c:layout>
                <c:manualLayout>
                  <c:x val="-2.8529468835560061E-2"/>
                  <c:y val="4.70690849551953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EDB-4629-BF36-35C0A27908B7}"/>
                </c:ext>
              </c:extLst>
            </c:dLbl>
            <c:dLbl>
              <c:idx val="3"/>
              <c:layout>
                <c:manualLayout>
                  <c:x val="-3.3955972166279241E-2"/>
                  <c:y val="3.5807180590223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EDB-4629-BF36-35C0A27908B7}"/>
                </c:ext>
              </c:extLst>
            </c:dLbl>
            <c:dLbl>
              <c:idx val="4"/>
              <c:layout>
                <c:manualLayout>
                  <c:x val="-3.0792725885673375E-2"/>
                  <c:y val="4.9321465828189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EDB-4629-BF36-35C0A27908B7}"/>
                </c:ext>
              </c:extLst>
            </c:dLbl>
            <c:dLbl>
              <c:idx val="5"/>
              <c:layout>
                <c:manualLayout>
                  <c:x val="-3.4893441180224145E-2"/>
                  <c:y val="4.41855053792885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EDB-4629-BF36-35C0A27908B7}"/>
                </c:ext>
              </c:extLst>
            </c:dLbl>
            <c:dLbl>
              <c:idx val="6"/>
              <c:layout>
                <c:manualLayout>
                  <c:x val="-3.3175064273084344E-2"/>
                  <c:y val="5.0878091570101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EDB-4629-BF36-35C0A27908B7}"/>
                </c:ext>
              </c:extLst>
            </c:dLbl>
            <c:dLbl>
              <c:idx val="7"/>
              <c:layout>
                <c:manualLayout>
                  <c:x val="-3.4869719798292342E-2"/>
                  <c:y val="4.40563925229467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EDB-4629-BF36-35C0A27908B7}"/>
                </c:ext>
              </c:extLst>
            </c:dLbl>
            <c:dLbl>
              <c:idx val="8"/>
              <c:layout>
                <c:manualLayout>
                  <c:x val="-2.2947946273916494E-2"/>
                  <c:y val="-8.41530285300395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EDB-4629-BF36-35C0A27908B7}"/>
                </c:ext>
              </c:extLst>
            </c:dLbl>
            <c:dLbl>
              <c:idx val="9"/>
              <c:layout>
                <c:manualLayout>
                  <c:x val="-2.9573446854378706E-2"/>
                  <c:y val="-3.7069496140618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EDB-4629-BF36-35C0A27908B7}"/>
                </c:ext>
              </c:extLst>
            </c:dLbl>
            <c:dLbl>
              <c:idx val="10"/>
              <c:layout>
                <c:manualLayout>
                  <c:x val="-5.3450678265473575E-2"/>
                  <c:y val="6.149737128623493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EDB-4629-BF36-35C0A27908B7}"/>
                </c:ext>
              </c:extLst>
            </c:dLbl>
            <c:dLbl>
              <c:idx val="11"/>
              <c:layout>
                <c:manualLayout>
                  <c:x val="-6.0946872169742622E-2"/>
                  <c:y val="8.0345753866153946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EDB-4629-BF36-35C0A27908B7}"/>
                </c:ext>
              </c:extLst>
            </c:dLbl>
            <c:dLbl>
              <c:idx val="12"/>
              <c:layout>
                <c:manualLayout>
                  <c:x val="-6.938397468833668E-2"/>
                  <c:y val="-4.12561521526163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EDB-4629-BF36-35C0A27908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2:$C$9</c:f>
              <c:numCache>
                <c:formatCode>0.0%</c:formatCode>
                <c:ptCount val="8"/>
                <c:pt idx="0">
                  <c:v>0.185</c:v>
                </c:pt>
                <c:pt idx="1">
                  <c:v>0.125</c:v>
                </c:pt>
                <c:pt idx="2">
                  <c:v>0.14299999999999999</c:v>
                </c:pt>
                <c:pt idx="3">
                  <c:v>0.121</c:v>
                </c:pt>
                <c:pt idx="4">
                  <c:v>0.12</c:v>
                </c:pt>
                <c:pt idx="5">
                  <c:v>0.126</c:v>
                </c:pt>
                <c:pt idx="6">
                  <c:v>9.1999999999999998E-2</c:v>
                </c:pt>
                <c:pt idx="7">
                  <c:v>4.9000000000000002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4-4EDB-4629-BF36-35C0A2790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761088"/>
        <c:axId val="132762624"/>
      </c:lineChart>
      <c:catAx>
        <c:axId val="132745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32759552"/>
        <c:crosses val="autoZero"/>
        <c:auto val="1"/>
        <c:lblAlgn val="ctr"/>
        <c:lblOffset val="100"/>
        <c:noMultiLvlLbl val="0"/>
      </c:catAx>
      <c:valAx>
        <c:axId val="132759552"/>
        <c:scaling>
          <c:orientation val="minMax"/>
          <c:max val="100000"/>
        </c:scaling>
        <c:delete val="0"/>
        <c:axPos val="l"/>
        <c:numFmt formatCode="#,##0" sourceLinked="1"/>
        <c:majorTickMark val="none"/>
        <c:minorTickMark val="none"/>
        <c:tickLblPos val="nextTo"/>
        <c:crossAx val="132745472"/>
        <c:crosses val="autoZero"/>
        <c:crossBetween val="between"/>
      </c:valAx>
      <c:catAx>
        <c:axId val="132761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32762624"/>
        <c:crosses val="autoZero"/>
        <c:auto val="1"/>
        <c:lblAlgn val="ctr"/>
        <c:lblOffset val="100"/>
        <c:noMultiLvlLbl val="0"/>
      </c:catAx>
      <c:valAx>
        <c:axId val="132762624"/>
        <c:scaling>
          <c:orientation val="minMax"/>
          <c:max val="0.75000000000000022"/>
        </c:scaling>
        <c:delete val="0"/>
        <c:axPos val="r"/>
        <c:numFmt formatCode="0.0%" sourceLinked="1"/>
        <c:majorTickMark val="out"/>
        <c:minorTickMark val="none"/>
        <c:tickLblPos val="nextTo"/>
        <c:crossAx val="132761088"/>
        <c:crosses val="max"/>
        <c:crossBetween val="between"/>
        <c:majorUnit val="0.1"/>
      </c:valAx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15632687210332274"/>
          <c:y val="0.80638302588436672"/>
          <c:w val="0.59243975992842857"/>
          <c:h val="0.1334665058759547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81215490256941"/>
          <c:y val="8.4856573056827922E-2"/>
          <c:w val="0.52553926494465197"/>
          <c:h val="0.825318704807446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dPt>
            <c:idx val="0"/>
            <c:bubble3D val="0"/>
            <c:explosion val="4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accent5">
                    <a:lumMod val="60000"/>
                    <a:lumOff val="40000"/>
                  </a:schemeClr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3-48F4-8F8B-C195D99B1223}"/>
              </c:ext>
            </c:extLst>
          </c:dPt>
          <c:dPt>
            <c:idx val="1"/>
            <c:bubble3D val="0"/>
            <c:spPr>
              <a:effectLst>
                <a:glow rad="101600">
                  <a:schemeClr val="accent2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flat" dir="tl">
                  <a:rot lat="0" lon="0" rev="6360000"/>
                </a:lightRig>
              </a:scene3d>
              <a:sp3d prstMaterial="flat">
                <a:bevelT h="63500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AB3-48F4-8F8B-C195D99B1223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AB3-48F4-8F8B-C195D99B1223}"/>
              </c:ext>
            </c:extLst>
          </c:dPt>
          <c:dPt>
            <c:idx val="4"/>
            <c:bubble3D val="0"/>
            <c:spPr>
              <a:solidFill>
                <a:srgbClr val="C0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AB3-48F4-8F8B-C195D99B1223}"/>
              </c:ext>
            </c:extLst>
          </c:dPt>
          <c:dPt>
            <c:idx val="6"/>
            <c:bubble3D val="0"/>
            <c:spPr>
              <a:solidFill>
                <a:schemeClr val="bg2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AB3-48F4-8F8B-C195D99B1223}"/>
              </c:ext>
            </c:extLst>
          </c:dPt>
          <c:dLbls>
            <c:dLbl>
              <c:idx val="0"/>
              <c:layout>
                <c:manualLayout>
                  <c:x val="0.1879554488963113"/>
                  <c:y val="0.111803891899335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                Безвозмездные </a:t>
                    </a:r>
                    <a:r>
                      <a:rPr lang="ru-RU" dirty="0"/>
                      <a:t>поступления; </a:t>
                    </a:r>
                    <a:r>
                      <a:rPr lang="ru-RU" dirty="0" smtClean="0"/>
                      <a:t>                </a:t>
                    </a:r>
                    <a:r>
                      <a:rPr lang="ru-RU" sz="1400" b="1" dirty="0" smtClean="0">
                        <a:solidFill>
                          <a:srgbClr val="FF0000"/>
                        </a:solidFill>
                      </a:rPr>
                      <a:t>356,6 млн.руб.</a:t>
                    </a:r>
                    <a:r>
                      <a:rPr lang="ru-RU" sz="1400" b="1" dirty="0" smtClean="0"/>
                      <a:t>;                        49,9%</a:t>
                    </a:r>
                    <a:endParaRPr lang="ru-RU" sz="1400" b="1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AB3-48F4-8F8B-C195D99B1223}"/>
                </c:ext>
              </c:extLst>
            </c:dLbl>
            <c:dLbl>
              <c:idx val="1"/>
              <c:layout>
                <c:manualLayout>
                  <c:x val="-0.15825483765381326"/>
                  <c:y val="0.14450358129039881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НДФЛ;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62,6млн.руб.;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  36,8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AB3-48F4-8F8B-C195D99B1223}"/>
                </c:ext>
              </c:extLst>
            </c:dLbl>
            <c:dLbl>
              <c:idx val="2"/>
              <c:layout>
                <c:manualLayout>
                  <c:x val="-0.21251903910318209"/>
                  <c:y val="0.32968414582725475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Налоги на совокупный доход; </a:t>
                    </a:r>
                  </a:p>
                  <a:p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,9 млн.руб.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                1,4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5AB3-48F4-8F8B-C195D99B1223}"/>
                </c:ext>
              </c:extLst>
            </c:dLbl>
            <c:dLbl>
              <c:idx val="3"/>
              <c:layout>
                <c:manualLayout>
                  <c:x val="-0.26541375928361605"/>
                  <c:y val="0.17697217925933911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Акцизы;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               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5,2 млн.руб.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                  2,1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5AB3-48F4-8F8B-C195D99B1223}"/>
                </c:ext>
              </c:extLst>
            </c:dLbl>
            <c:dLbl>
              <c:idx val="4"/>
              <c:layout>
                <c:manualLayout>
                  <c:x val="-0.30272383116332352"/>
                  <c:y val="-0.14309374831362426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Доходы </a:t>
                    </a:r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от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использования имущества</a:t>
                    </a:r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          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0,8 млн.руб.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                1,5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5AB3-48F4-8F8B-C195D99B1223}"/>
                </c:ext>
              </c:extLst>
            </c:dLbl>
            <c:dLbl>
              <c:idx val="5"/>
              <c:layout>
                <c:manualLayout>
                  <c:x val="-0.13203395560588849"/>
                  <c:y val="-0.1404672552708674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Доходы </a:t>
                    </a:r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от продажи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имущества и земли;</a:t>
                    </a:r>
                  </a:p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5,8 млн.руб.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             3,6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5AB3-48F4-8F8B-C195D99B1223}"/>
                </c:ext>
              </c:extLst>
            </c:dLbl>
            <c:dLbl>
              <c:idx val="6"/>
              <c:layout>
                <c:manualLayout>
                  <c:x val="0.3633789793965545"/>
                  <c:y val="-0.14862862782293582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Гос. </a:t>
                    </a:r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пошлина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                                  </a:t>
                    </a:r>
                  </a:p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,0 млн руб.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;</a:t>
                    </a:r>
                  </a:p>
                  <a:p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0,4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5AB3-48F4-8F8B-C195D99B1223}"/>
                </c:ext>
              </c:extLst>
            </c:dLbl>
            <c:dLbl>
              <c:idx val="7"/>
              <c:layout>
                <c:manualLayout>
                  <c:x val="0.40032577025491789"/>
                  <c:y val="3.9197088503742268E-2"/>
                </c:manualLayout>
              </c:layout>
              <c:tx>
                <c:rich>
                  <a:bodyPr/>
                  <a:lstStyle/>
                  <a:p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Прочие неналоговые </a:t>
                    </a:r>
                    <a:r>
                      <a:rPr lang="ru-RU" sz="13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доходы; </a:t>
                    </a:r>
                    <a:r>
                      <a:rPr lang="ru-RU" sz="1300" b="0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               </a:t>
                    </a:r>
                    <a:r>
                      <a:rPr lang="ru-RU" sz="1400" b="1" i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,4млн.руб.;</a:t>
                    </a:r>
                    <a:r>
                      <a:rPr lang="ru-RU" sz="1400" b="1" i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                                     0,2%</a:t>
                    </a:r>
                    <a:endParaRPr lang="ru-RU" sz="14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5AB3-48F4-8F8B-C195D99B1223}"/>
                </c:ext>
              </c:extLst>
            </c:dLbl>
            <c:dLbl>
              <c:idx val="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AB3-48F4-8F8B-C195D99B12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="0" i="0" baseline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Безвозмездные поступления</c:v>
                </c:pt>
                <c:pt idx="1">
                  <c:v>НДФЛ</c:v>
                </c:pt>
                <c:pt idx="2">
                  <c:v>Налоги на совокупный доход</c:v>
                </c:pt>
                <c:pt idx="3">
                  <c:v>Акцизы</c:v>
                </c:pt>
                <c:pt idx="4">
                  <c:v>Налоги на имущество</c:v>
                </c:pt>
                <c:pt idx="5">
                  <c:v>Доходы от использования имущества</c:v>
                </c:pt>
                <c:pt idx="6">
                  <c:v>Доходы от продажи имущества и земельных участков</c:v>
                </c:pt>
                <c:pt idx="7">
                  <c:v>Гос пошлина</c:v>
                </c:pt>
                <c:pt idx="8">
                  <c:v>прочие налоговые и неналоговые доходы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56.6</c:v>
                </c:pt>
                <c:pt idx="1">
                  <c:v>262.60000000000002</c:v>
                </c:pt>
                <c:pt idx="2">
                  <c:v>9.9</c:v>
                </c:pt>
                <c:pt idx="3" formatCode="#,##0.0">
                  <c:v>15.2</c:v>
                </c:pt>
                <c:pt idx="4" formatCode="#,##0.0">
                  <c:v>29.1</c:v>
                </c:pt>
                <c:pt idx="5">
                  <c:v>10.8</c:v>
                </c:pt>
                <c:pt idx="6">
                  <c:v>25.8</c:v>
                </c:pt>
                <c:pt idx="7" formatCode="0.0">
                  <c:v>3</c:v>
                </c:pt>
                <c:pt idx="8">
                  <c:v>1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5AB3-48F4-8F8B-C195D99B1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47"/>
        <c:holeSize val="50"/>
      </c:doughnutChart>
    </c:plotArea>
    <c:plotVisOnly val="1"/>
    <c:dispBlanksAs val="zero"/>
    <c:showDLblsOverMax val="0"/>
  </c:chart>
  <c:spPr>
    <a:solidFill>
      <a:schemeClr val="bg1">
        <a:alpha val="0"/>
      </a:schemeClr>
    </a:solidFill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020796469108064E-3"/>
          <c:y val="1.8691516353959003E-2"/>
          <c:w val="0.98219584569732943"/>
          <c:h val="0.947040498442367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13921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1:$F$1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A$2:$F$2</c:f>
              <c:numCache>
                <c:formatCode>General</c:formatCode>
                <c:ptCount val="6"/>
                <c:pt idx="0">
                  <c:v>10.7</c:v>
                </c:pt>
                <c:pt idx="1">
                  <c:v>11.3</c:v>
                </c:pt>
                <c:pt idx="2" formatCode="0.0">
                  <c:v>22.1</c:v>
                </c:pt>
                <c:pt idx="3">
                  <c:v>5.8</c:v>
                </c:pt>
                <c:pt idx="4">
                  <c:v>10.1</c:v>
                </c:pt>
                <c:pt idx="5">
                  <c:v>25.8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ССЫЛКА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0-3AC6-4CBD-A267-A3C44FD5F520}"/>
            </c:ext>
          </c:extLst>
        </c:ser>
        <c:ser>
          <c:idx val="1"/>
          <c:order val="1"/>
          <c:spPr>
            <a:solidFill>
              <a:schemeClr val="accent3">
                <a:lumMod val="75000"/>
              </a:schemeClr>
            </a:solidFill>
            <a:ln w="13921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3"/>
              <c:layout>
                <c:manualLayout>
                  <c:x val="0"/>
                  <c:y val="3.02851092648587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5</a:t>
                    </a:r>
                  </a:p>
                  <a:p>
                    <a:endParaRPr lang="en-US" dirty="0" smtClean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6.153674440152361E-2"/>
                      <c:h val="7.211641643694496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AC6-4CBD-A267-A3C44FD5F5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1:$F$1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A$3:$F$3</c:f>
              <c:numCache>
                <c:formatCode>0.0</c:formatCode>
                <c:ptCount val="6"/>
                <c:pt idx="0" formatCode="General">
                  <c:v>28.9</c:v>
                </c:pt>
                <c:pt idx="1">
                  <c:v>31.4</c:v>
                </c:pt>
                <c:pt idx="2" formatCode="General">
                  <c:v>27.6</c:v>
                </c:pt>
                <c:pt idx="3" formatCode="General">
                  <c:v>25</c:v>
                </c:pt>
                <c:pt idx="4">
                  <c:v>32.4</c:v>
                </c:pt>
                <c:pt idx="5" formatCode="General">
                  <c:v>29.1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ССЫЛКА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2-3AC6-4CBD-A267-A3C44FD5F520}"/>
            </c:ext>
          </c:extLst>
        </c:ser>
        <c:ser>
          <c:idx val="2"/>
          <c:order val="2"/>
          <c:spPr>
            <a:gradFill rotWithShape="0">
              <a:gsLst>
                <a:gs pos="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3921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AC6-4CBD-A267-A3C44FD5F52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:$F$1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A$4:$F$4</c:f>
              <c:numCache>
                <c:formatCode>General</c:formatCode>
                <c:ptCount val="6"/>
                <c:pt idx="0">
                  <c:v>188.6</c:v>
                </c:pt>
                <c:pt idx="1">
                  <c:v>214.8</c:v>
                </c:pt>
                <c:pt idx="2">
                  <c:v>208.2</c:v>
                </c:pt>
                <c:pt idx="3" formatCode="0.0">
                  <c:v>212.6</c:v>
                </c:pt>
                <c:pt idx="4">
                  <c:v>237.1</c:v>
                </c:pt>
                <c:pt idx="5">
                  <c:v>262.60000000000002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ССЫЛКА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4-3AC6-4CBD-A267-A3C44FD5F5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287488"/>
        <c:axId val="68293760"/>
      </c:barChart>
      <c:catAx>
        <c:axId val="68287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3921">
            <a:solidFill>
              <a:schemeClr val="tx1"/>
            </a:solidFill>
            <a:prstDash val="solid"/>
          </a:ln>
        </c:spPr>
        <c:crossAx val="682937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68293760"/>
        <c:scaling>
          <c:orientation val="minMax"/>
          <c:max val="101.9297372999999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0440">
            <a:noFill/>
          </a:ln>
        </c:spPr>
        <c:crossAx val="68287488"/>
        <c:crosses val="autoZero"/>
        <c:crossBetween val="between"/>
      </c:valAx>
      <c:spPr>
        <a:noFill/>
        <a:ln w="27841">
          <a:noFill/>
        </a:ln>
      </c:spPr>
    </c:plotArea>
    <c:plotVisOnly val="1"/>
    <c:dispBlanksAs val="gap"/>
    <c:showDLblsOverMax val="0"/>
  </c:chart>
  <c:spPr>
    <a:solidFill>
      <a:srgbClr val="FDF2D9"/>
    </a:solidFill>
    <a:ln>
      <a:noFill/>
    </a:ln>
  </c:spPr>
  <c:txPr>
    <a:bodyPr/>
    <a:lstStyle/>
    <a:p>
      <a:pPr>
        <a:defRPr sz="1315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15950253284022"/>
          <c:y val="6.4428190493820939E-2"/>
          <c:w val="0.62083333333333368"/>
          <c:h val="0.9312500000000000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cat>
            <c:strRef>
              <c:f>Лист1!$A$2:$A$6</c:f>
              <c:strCache>
                <c:ptCount val="5"/>
                <c:pt idx="0">
                  <c:v>Заработная плата</c:v>
                </c:pt>
                <c:pt idx="1">
                  <c:v>Прочие расходы</c:v>
                </c:pt>
                <c:pt idx="2">
                  <c:v>Социальное обеспечение</c:v>
                </c:pt>
                <c:pt idx="3">
                  <c:v>Обслуживание мун. Долга</c:v>
                </c:pt>
                <c:pt idx="4">
                  <c:v>управлени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52.5</c:v>
                </c:pt>
                <c:pt idx="1">
                  <c:v>46.3</c:v>
                </c:pt>
                <c:pt idx="2">
                  <c:v>118</c:v>
                </c:pt>
                <c:pt idx="3">
                  <c:v>0.4</c:v>
                </c:pt>
                <c:pt idx="4">
                  <c:v>6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33-47D6-A1BC-0787CB3D5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86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479778890780845E-2"/>
          <c:y val="2.7379758413448727E-2"/>
          <c:w val="0.95952180176701651"/>
          <c:h val="0.688917302839366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правлени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8323100154404612E-3"/>
                  <c:y val="-9.6640708110057802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60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7,5 (8,0%)</a:t>
                    </a:r>
                    <a:endParaRPr lang="en-US" sz="16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217-4DEC-919E-7EB48F8F0B2B}"/>
                </c:ext>
              </c:extLst>
            </c:dLbl>
            <c:dLbl>
              <c:idx val="1"/>
              <c:layout>
                <c:manualLayout>
                  <c:x val="7.228249684461294E-3"/>
                  <c:y val="-6.9619457487179806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60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6,7 (8,2%)</a:t>
                    </a:r>
                    <a:endParaRPr lang="en-US" sz="16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217-4DEC-919E-7EB48F8F0B2B}"/>
                </c:ext>
              </c:extLst>
            </c:dLbl>
            <c:dLbl>
              <c:idx val="2"/>
              <c:layout>
                <c:manualLayout>
                  <c:x val="1.4456499368922631E-2"/>
                  <c:y val="-6.9619457487179806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60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1,0(9,0%)</a:t>
                    </a:r>
                    <a:endParaRPr lang="en-US" sz="16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217-4DEC-919E-7EB48F8F0B2B}"/>
                </c:ext>
              </c:extLst>
            </c:dLbl>
            <c:dLbl>
              <c:idx val="3"/>
              <c:layout>
                <c:manualLayout>
                  <c:x val="1.2273296164371755E-2"/>
                  <c:y val="-7.2480531082543369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600" b="1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6,4 (9,5%)</a:t>
                    </a:r>
                    <a:endParaRPr lang="en-US" sz="16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217-4DEC-919E-7EB48F8F0B2B}"/>
                </c:ext>
              </c:extLst>
            </c:dLbl>
            <c:dLbl>
              <c:idx val="4"/>
              <c:layout>
                <c:manualLayout>
                  <c:x val="8.673899621353444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b="0" dirty="0" smtClean="0"/>
                      <a:t>6,8</a:t>
                    </a:r>
                    <a:r>
                      <a:rPr lang="ru-RU" sz="1200" b="0" dirty="0" smtClean="0"/>
                      <a:t>(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17-4DEC-919E-7EB48F8F0B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(факт)</c:v>
                </c:pt>
                <c:pt idx="1">
                  <c:v>2020 (факт)</c:v>
                </c:pt>
                <c:pt idx="2">
                  <c:v>2021 (оценка)</c:v>
                </c:pt>
                <c:pt idx="3">
                  <c:v>2022 (план)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67.5</c:v>
                </c:pt>
                <c:pt idx="1">
                  <c:v>66.7</c:v>
                </c:pt>
                <c:pt idx="2">
                  <c:v>71</c:v>
                </c:pt>
                <c:pt idx="3">
                  <c:v>66.4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217-4DEC-919E-7EB48F8F0B2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аботная плата и начисления на нее 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1565199495138087E-2"/>
                  <c:y val="2.3206485829059932E-3"/>
                </c:manualLayout>
              </c:layout>
              <c:tx>
                <c:rich>
                  <a:bodyPr/>
                  <a:lstStyle/>
                  <a:p>
                    <a:r>
                      <a:rPr lang="ru-RU" sz="1200" b="0" dirty="0" smtClean="0"/>
                      <a:t>236,1(58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17-4DEC-919E-7EB48F8F0B2B}"/>
                </c:ext>
              </c:extLst>
            </c:dLbl>
            <c:dLbl>
              <c:idx val="1"/>
              <c:layout>
                <c:manualLayout>
                  <c:x val="1.1565199495138071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sz="1200" b="0" dirty="0" smtClean="0"/>
                      <a:t>272,2(46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217-4DEC-919E-7EB48F8F0B2B}"/>
                </c:ext>
              </c:extLst>
            </c:dLbl>
            <c:dLbl>
              <c:idx val="2"/>
              <c:layout>
                <c:manualLayout>
                  <c:x val="1.1565199495138071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sz="1200" b="0" dirty="0" smtClean="0"/>
                      <a:t>260,6(47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17-4DEC-919E-7EB48F8F0B2B}"/>
                </c:ext>
              </c:extLst>
            </c:dLbl>
            <c:dLbl>
              <c:idx val="3"/>
              <c:layout>
                <c:manualLayout>
                  <c:x val="1.1565199495138071E-2"/>
                  <c:y val="-6.9619457487179806E-3"/>
                </c:manualLayout>
              </c:layout>
              <c:tx>
                <c:rich>
                  <a:bodyPr/>
                  <a:lstStyle/>
                  <a:p>
                    <a:r>
                      <a:rPr lang="ru-RU" sz="1200" b="0" dirty="0" smtClean="0"/>
                      <a:t>2</a:t>
                    </a:r>
                    <a:r>
                      <a:rPr lang="en-US" sz="1200" b="0" dirty="0" smtClean="0"/>
                      <a:t>5</a:t>
                    </a:r>
                    <a:r>
                      <a:rPr lang="ru-RU" sz="1200" b="0" dirty="0" smtClean="0"/>
                      <a:t>1,1(65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217-4DEC-919E-7EB48F8F0B2B}"/>
                </c:ext>
              </c:extLst>
            </c:dLbl>
            <c:dLbl>
              <c:idx val="4"/>
              <c:layout>
                <c:manualLayout>
                  <c:x val="1.1565199495138071E-2"/>
                  <c:y val="-6.9619457487179806E-3"/>
                </c:manualLayout>
              </c:layout>
              <c:tx>
                <c:rich>
                  <a:bodyPr/>
                  <a:lstStyle/>
                  <a:p>
                    <a:r>
                      <a:rPr lang="en-US" sz="1200" b="0" dirty="0" smtClean="0"/>
                      <a:t>47,4</a:t>
                    </a:r>
                    <a:r>
                      <a:rPr lang="ru-RU" sz="1200" b="0" dirty="0" smtClean="0"/>
                      <a:t>(44%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217-4DEC-919E-7EB48F8F0B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(факт)</c:v>
                </c:pt>
                <c:pt idx="1">
                  <c:v>2020 (факт)</c:v>
                </c:pt>
                <c:pt idx="2">
                  <c:v>2021 (оценка)</c:v>
                </c:pt>
                <c:pt idx="3">
                  <c:v>2022 (план)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4217-4DEC-919E-7EB48F8F0B2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оциальное обеспечение  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2127643413770268E-3"/>
                  <c:y val="1.9061808961865729E-4"/>
                </c:manualLayout>
              </c:layout>
              <c:tx>
                <c:rich>
                  <a:bodyPr/>
                  <a:lstStyle/>
                  <a:p>
                    <a:r>
                      <a:rPr lang="en-US" sz="1500" b="1" dirty="0" smtClean="0"/>
                      <a:t>559,5 (66,7%)</a:t>
                    </a:r>
                    <a:endParaRPr lang="en-US" sz="15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4217-4DEC-919E-7EB48F8F0B2B}"/>
                </c:ext>
              </c:extLst>
            </c:dLbl>
            <c:dLbl>
              <c:idx val="1"/>
              <c:layout>
                <c:manualLayout>
                  <c:x val="-1.0326233593093491E-3"/>
                  <c:y val="2.6068260299844034E-3"/>
                </c:manualLayout>
              </c:layout>
              <c:tx>
                <c:rich>
                  <a:bodyPr/>
                  <a:lstStyle/>
                  <a:p>
                    <a:r>
                      <a:rPr lang="en-US" sz="1500" b="1" dirty="0" smtClean="0"/>
                      <a:t>569,1 (69,9%)</a:t>
                    </a:r>
                    <a:endParaRPr lang="en-US" sz="15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4217-4DEC-919E-7EB48F8F0B2B}"/>
                </c:ext>
              </c:extLst>
            </c:dLbl>
            <c:dLbl>
              <c:idx val="2"/>
              <c:layout>
                <c:manualLayout>
                  <c:x val="-4.6319966715717056E-3"/>
                  <c:y val="-4.7367263606935611E-3"/>
                </c:manualLayout>
              </c:layout>
              <c:tx>
                <c:rich>
                  <a:bodyPr/>
                  <a:lstStyle/>
                  <a:p>
                    <a:r>
                      <a:rPr lang="en-US" sz="1500" b="1" dirty="0" smtClean="0"/>
                      <a:t>540,3 (68,5%)</a:t>
                    </a:r>
                    <a:endParaRPr lang="en-US" sz="15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4217-4DEC-919E-7EB48F8F0B2B}"/>
                </c:ext>
              </c:extLst>
            </c:dLbl>
            <c:dLbl>
              <c:idx val="3"/>
              <c:layout>
                <c:manualLayout>
                  <c:x val="-1.0326233593092832E-3"/>
                  <c:y val="7.2480531082542458E-3"/>
                </c:manualLayout>
              </c:layout>
              <c:tx>
                <c:rich>
                  <a:bodyPr/>
                  <a:lstStyle/>
                  <a:p>
                    <a:r>
                      <a:rPr lang="en-US" sz="1500" b="1" dirty="0" smtClean="0"/>
                      <a:t>506,9 (72,2%)</a:t>
                    </a:r>
                    <a:endParaRPr lang="en-US" sz="15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4217-4DEC-919E-7EB48F8F0B2B}"/>
                </c:ext>
              </c:extLst>
            </c:dLbl>
            <c:dLbl>
              <c:idx val="4"/>
              <c:layout>
                <c:manualLayout>
                  <c:x val="1.1565199495138071E-2"/>
                  <c:y val="-4.64129716581199E-3"/>
                </c:manualLayout>
              </c:layout>
              <c:tx>
                <c:rich>
                  <a:bodyPr/>
                  <a:lstStyle/>
                  <a:p>
                    <a:r>
                      <a:rPr lang="en-US" sz="1200" b="0" smtClean="0"/>
                      <a:t>15,3</a:t>
                    </a:r>
                    <a:r>
                      <a:rPr lang="ru-RU" sz="1200" b="0" smtClean="0"/>
                      <a:t>(14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217-4DEC-919E-7EB48F8F0B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5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(факт)</c:v>
                </c:pt>
                <c:pt idx="1">
                  <c:v>2020 (факт)</c:v>
                </c:pt>
                <c:pt idx="2">
                  <c:v>2021 (оценка)</c:v>
                </c:pt>
                <c:pt idx="3">
                  <c:v>2022 (план)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559.5</c:v>
                </c:pt>
                <c:pt idx="1">
                  <c:v>569.1</c:v>
                </c:pt>
                <c:pt idx="2">
                  <c:v>540.29999999999995</c:v>
                </c:pt>
                <c:pt idx="3">
                  <c:v>506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4217-4DEC-919E-7EB48F8F0B2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Муниципальный долг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2019 (факт)</c:v>
                </c:pt>
                <c:pt idx="1">
                  <c:v>2020 (факт)</c:v>
                </c:pt>
                <c:pt idx="2">
                  <c:v>2021 (оценка)</c:v>
                </c:pt>
                <c:pt idx="3">
                  <c:v>2022 (план)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0.03</c:v>
                </c:pt>
                <c:pt idx="1">
                  <c:v>0.03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4217-4DEC-919E-7EB48F8F0B2B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очие расходы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4.9859822831476858E-3"/>
                  <c:y val="4.8320354055028892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 smtClean="0"/>
                      <a:t>212,8 (25,3%)</a:t>
                    </a:r>
                    <a:endParaRPr lang="en-US" sz="14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4217-4DEC-919E-7EB48F8F0B2B}"/>
                </c:ext>
              </c:extLst>
            </c:dLbl>
            <c:dLbl>
              <c:idx val="1"/>
              <c:layout>
                <c:manualLayout>
                  <c:x val="7.6706329682189509E-4"/>
                  <c:y val="-2.2146573102785918E-17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 smtClean="0"/>
                      <a:t>178,0 (21,9%)</a:t>
                    </a:r>
                    <a:endParaRPr lang="en-US" sz="14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4217-4DEC-919E-7EB48F8F0B2B}"/>
                </c:ext>
              </c:extLst>
            </c:dLbl>
            <c:dLbl>
              <c:idx val="2"/>
              <c:layout>
                <c:manualLayout>
                  <c:x val="5.8121376536393252E-3"/>
                  <c:y val="4.9273444503121957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 smtClean="0"/>
                      <a:t>177,9 (22,5%)</a:t>
                    </a:r>
                    <a:endParaRPr lang="en-US" sz="14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4217-4DEC-919E-7EB48F8F0B2B}"/>
                </c:ext>
              </c:extLst>
            </c:dLbl>
            <c:dLbl>
              <c:idx val="3"/>
              <c:layout>
                <c:manualLayout>
                  <c:x val="4.1307768524585705E-4"/>
                  <c:y val="-2.1299003307090687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 smtClean="0"/>
                      <a:t>128,3 (18,3%)</a:t>
                    </a:r>
                    <a:endParaRPr lang="en-US" sz="1400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4217-4DEC-919E-7EB48F8F0B2B}"/>
                </c:ext>
              </c:extLst>
            </c:dLbl>
            <c:dLbl>
              <c:idx val="4"/>
              <c:layout>
                <c:manualLayout>
                  <c:x val="1.301084943203022E-2"/>
                  <c:y val="-2.3206485829059932E-3"/>
                </c:manualLayout>
              </c:layout>
              <c:tx>
                <c:rich>
                  <a:bodyPr/>
                  <a:lstStyle/>
                  <a:p>
                    <a:r>
                      <a:rPr lang="en-US" sz="1200" b="0" smtClean="0"/>
                      <a:t>24,1</a:t>
                    </a:r>
                    <a:r>
                      <a:rPr lang="ru-RU" sz="1200" b="0" smtClean="0"/>
                      <a:t>(22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217-4DEC-919E-7EB48F8F0B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(факт)</c:v>
                </c:pt>
                <c:pt idx="1">
                  <c:v>2020 (факт)</c:v>
                </c:pt>
                <c:pt idx="2">
                  <c:v>2021 (оценка)</c:v>
                </c:pt>
                <c:pt idx="3">
                  <c:v>2022 (план)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212.8</c:v>
                </c:pt>
                <c:pt idx="1">
                  <c:v>178</c:v>
                </c:pt>
                <c:pt idx="2">
                  <c:v>177.9</c:v>
                </c:pt>
                <c:pt idx="3">
                  <c:v>128.3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4217-4DEC-919E-7EB48F8F0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100"/>
        <c:axId val="75611520"/>
        <c:axId val="77276288"/>
      </c:barChart>
      <c:catAx>
        <c:axId val="75611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77276288"/>
        <c:crosses val="autoZero"/>
        <c:auto val="1"/>
        <c:lblAlgn val="ctr"/>
        <c:lblOffset val="100"/>
        <c:noMultiLvlLbl val="0"/>
      </c:catAx>
      <c:valAx>
        <c:axId val="7727628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75611520"/>
        <c:crosses val="autoZero"/>
        <c:crossBetween val="between"/>
      </c:valAx>
    </c:plotArea>
    <c:legend>
      <c:legendPos val="b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84936224742151933"/>
          <c:w val="1"/>
          <c:h val="0.10874647870175767"/>
        </c:manualLayout>
      </c:layout>
      <c:overlay val="0"/>
      <c:txPr>
        <a:bodyPr/>
        <a:lstStyle/>
        <a:p>
          <a:pPr>
            <a:defRPr sz="15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ru-RU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7660231725665144E-2"/>
          <c:y val="2.7225943149173919E-2"/>
          <c:w val="0.98233976827433467"/>
          <c:h val="0.9727740568508265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Удельный вес расходов в бюджете на социальную сферу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explosion val="12"/>
          <c:dPt>
            <c:idx val="0"/>
            <c:bubble3D val="0"/>
            <c:explosion val="8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F5-478F-B6FC-9AB9F4719EFD}"/>
              </c:ext>
            </c:extLst>
          </c:dPt>
          <c:dPt>
            <c:idx val="1"/>
            <c:bubble3D val="0"/>
            <c:explosion val="13"/>
            <c:extLst xmlns:c16r2="http://schemas.microsoft.com/office/drawing/2015/06/chart">
              <c:ext xmlns:c16="http://schemas.microsoft.com/office/drawing/2014/chart" uri="{C3380CC4-5D6E-409C-BE32-E72D297353CC}">
                <c16:uniqueId val="{00000002-DDF5-478F-B6FC-9AB9F4719EFD}"/>
              </c:ext>
            </c:extLst>
          </c:dPt>
          <c:cat>
            <c:strRef>
              <c:f>Лист1!$A$2:$A$3</c:f>
              <c:strCache>
                <c:ptCount val="2"/>
                <c:pt idx="0">
                  <c:v>Социальная сфера</c:v>
                </c:pt>
                <c:pt idx="1">
                  <c:v>Ины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47.6</c:v>
                </c:pt>
                <c:pt idx="1">
                  <c:v>191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DF5-478F-B6FC-9AB9F4719E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разование </a:t>
            </a:r>
          </a:p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8,3 </a:t>
            </a:r>
            <a:r>
              <a:rPr lang="ru-RU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</a:t>
            </a: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8,2%)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0856415924398037"/>
          <c:y val="0.20943541885659428"/>
          <c:w val="0.58234856433944626"/>
          <c:h val="0.75959653131634031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разование 32 млрд. руб ( 29%)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Др. вопросы в области образования</c:v>
                </c:pt>
                <c:pt idx="1">
                  <c:v>Дополнительное образование</c:v>
                </c:pt>
                <c:pt idx="2">
                  <c:v>Дошкольное образование</c:v>
                </c:pt>
                <c:pt idx="3">
                  <c:v>Общее образование</c:v>
                </c:pt>
                <c:pt idx="4">
                  <c:v>Молодежная политика</c:v>
                </c:pt>
              </c:strCache>
            </c:strRef>
          </c:cat>
          <c:val>
            <c:numRef>
              <c:f>Лист1!$B$2:$B$6</c:f>
              <c:numCache>
                <c:formatCode>#,##0.00</c:formatCode>
                <c:ptCount val="5"/>
                <c:pt idx="0">
                  <c:v>9.4</c:v>
                </c:pt>
                <c:pt idx="1">
                  <c:v>24.8</c:v>
                </c:pt>
                <c:pt idx="2">
                  <c:v>134.4</c:v>
                </c:pt>
                <c:pt idx="3">
                  <c:v>236.9</c:v>
                </c:pt>
                <c:pt idx="4" formatCode="General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3E4-4248-9BE7-A4BFC0747B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77359360"/>
        <c:axId val="77373440"/>
        <c:axId val="0"/>
      </c:bar3DChart>
      <c:catAx>
        <c:axId val="7735936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77373440"/>
        <c:crosses val="autoZero"/>
        <c:auto val="1"/>
        <c:lblAlgn val="ctr"/>
        <c:lblOffset val="100"/>
        <c:noMultiLvlLbl val="0"/>
      </c:catAx>
      <c:valAx>
        <c:axId val="77373440"/>
        <c:scaling>
          <c:orientation val="minMax"/>
        </c:scaling>
        <c:delete val="1"/>
        <c:axPos val="b"/>
        <c:numFmt formatCode="#,##0.00" sourceLinked="1"/>
        <c:majorTickMark val="out"/>
        <c:minorTickMark val="none"/>
        <c:tickLblPos val="none"/>
        <c:crossAx val="77359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aseline="0"/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ультура</a:t>
            </a:r>
          </a:p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,5 </a:t>
            </a:r>
            <a:r>
              <a:rPr lang="ru-RU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 </a:t>
            </a: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9,3%)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50028766644975953"/>
          <c:y val="0.22290370514387289"/>
          <c:w val="0.44892120830111837"/>
          <c:h val="0.74069165926008285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дравоохранение, физкультура и спорт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Другие вопросы в области культуры</c:v>
                </c:pt>
                <c:pt idx="1">
                  <c:v>Библиотеки</c:v>
                </c:pt>
                <c:pt idx="2">
                  <c:v>Дворцы культур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.6</c:v>
                </c:pt>
                <c:pt idx="1">
                  <c:v>16.899999999999999</c:v>
                </c:pt>
                <c:pt idx="2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FDF-4A40-92BD-E14F1F0C53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77732096"/>
        <c:axId val="77733888"/>
        <c:axId val="0"/>
      </c:bar3DChart>
      <c:catAx>
        <c:axId val="777320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77733888"/>
        <c:crosses val="autoZero"/>
        <c:auto val="1"/>
        <c:lblAlgn val="ctr"/>
        <c:lblOffset val="100"/>
        <c:noMultiLvlLbl val="0"/>
      </c:catAx>
      <c:valAx>
        <c:axId val="777338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7773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aseline="0"/>
      </a:pPr>
      <a:endParaRPr lang="ru-R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циальная политика </a:t>
            </a:r>
          </a:p>
          <a:p>
            <a:pPr>
              <a:defRPr/>
            </a:pP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,2 </a:t>
            </a:r>
            <a:r>
              <a:rPr lang="ru-RU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</a:t>
            </a: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,4%)</a:t>
            </a:r>
            <a:endParaRPr lang="ru-RU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5059106808910593"/>
          <c:y val="0.2117257522091292"/>
          <c:w val="0.51556786139937771"/>
          <c:h val="0.74440020630818915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циальная политика 20 222 млн. руб. (19%)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Охрана семьи и детства</c:v>
                </c:pt>
                <c:pt idx="1">
                  <c:v>Пенсионное обеспечение</c:v>
                </c:pt>
                <c:pt idx="2">
                  <c:v>Социальное обеспечение населени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.5</c:v>
                </c:pt>
                <c:pt idx="1">
                  <c:v>0.7</c:v>
                </c:pt>
                <c:pt idx="2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074-4E85-9021-0B0046AF0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1995520"/>
        <c:axId val="131997056"/>
        <c:axId val="0"/>
      </c:bar3DChart>
      <c:catAx>
        <c:axId val="13199552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31997056"/>
        <c:crosses val="autoZero"/>
        <c:auto val="1"/>
        <c:lblAlgn val="ctr"/>
        <c:lblOffset val="100"/>
        <c:noMultiLvlLbl val="0"/>
      </c:catAx>
      <c:valAx>
        <c:axId val="131997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319955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aseline="0">
          <a:latin typeface="+mn-lt"/>
        </a:defRPr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694</cdr:x>
      <cdr:y>0.29419</cdr:y>
    </cdr:from>
    <cdr:to>
      <cdr:x>0.1808</cdr:x>
      <cdr:y>0.33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39932" y="1609961"/>
          <a:ext cx="567825" cy="2244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3976</cdr:x>
      <cdr:y>0.27439</cdr:y>
    </cdr:from>
    <cdr:to>
      <cdr:x>0.50906</cdr:x>
      <cdr:y>0.77832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400185" y="553019"/>
          <a:ext cx="1057420" cy="101566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ШКОЛЫ</a:t>
          </a:r>
        </a:p>
        <a:p xmlns:a="http://schemas.openxmlformats.org/drawingml/2006/main">
          <a:pPr algn="ctr"/>
          <a:r>
            <a:rPr lang="ru-RU" sz="1200" dirty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з</a:t>
          </a:r>
          <a:r>
            <a:rPr lang="ru-RU" sz="12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аработная </a:t>
          </a:r>
        </a:p>
        <a:p xmlns:a="http://schemas.openxmlformats.org/drawingml/2006/main">
          <a:pPr algn="ctr"/>
          <a:r>
            <a:rPr lang="ru-RU" sz="12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плата</a:t>
          </a:r>
        </a:p>
        <a:p xmlns:a="http://schemas.openxmlformats.org/drawingml/2006/main">
          <a:pPr algn="ctr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146,3</a:t>
          </a:r>
        </a:p>
        <a:p xmlns:a="http://schemas.openxmlformats.org/drawingml/2006/main">
          <a:pPr algn="ctr"/>
          <a:r>
            <a:rPr lang="ru-RU" sz="12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млн рублей</a:t>
          </a:r>
          <a:endParaRPr lang="ru-RU" sz="1200" dirty="0">
            <a:solidFill>
              <a:schemeClr val="tx1"/>
            </a:solidFill>
            <a:latin typeface="Arial" panose="020B0604020202020204" pitchFamily="34" charset="0"/>
            <a:ea typeface="Tahoma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8252</cdr:x>
      <cdr:y>0.08531</cdr:y>
    </cdr:from>
    <cdr:to>
      <cdr:x>1</cdr:x>
      <cdr:y>0.58924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1381604" y="171944"/>
          <a:ext cx="1481705" cy="101566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ДЕТСКИЕ </a:t>
          </a:r>
          <a:endParaRPr lang="en-US" sz="1200" b="1" dirty="0" smtClean="0">
            <a:solidFill>
              <a:schemeClr val="tx1"/>
            </a:solidFill>
            <a:latin typeface="Arial" panose="020B0604020202020204" pitchFamily="34" charset="0"/>
            <a:ea typeface="Tahoma" pitchFamily="34" charset="0"/>
            <a:cs typeface="Arial" panose="020B0604020202020204" pitchFamily="34" charset="0"/>
          </a:endParaRPr>
        </a:p>
        <a:p xmlns:a="http://schemas.openxmlformats.org/drawingml/2006/main">
          <a:pPr algn="ctr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САДЫ</a:t>
          </a:r>
        </a:p>
        <a:p xmlns:a="http://schemas.openxmlformats.org/drawingml/2006/main">
          <a:pPr algn="ctr"/>
          <a:r>
            <a:rPr lang="ru-RU" sz="12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заработная плата</a:t>
          </a:r>
          <a:endParaRPr lang="ru-RU" sz="700" dirty="0">
            <a:solidFill>
              <a:schemeClr val="tx1"/>
            </a:solidFill>
            <a:latin typeface="Arial" panose="020B0604020202020204" pitchFamily="34" charset="0"/>
            <a:ea typeface="Tahoma" pitchFamily="34" charset="0"/>
            <a:cs typeface="Arial" panose="020B0604020202020204" pitchFamily="34" charset="0"/>
          </a:endParaRPr>
        </a:p>
        <a:p xmlns:a="http://schemas.openxmlformats.org/drawingml/2006/main">
          <a:pPr algn="ctr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54,0</a:t>
          </a:r>
        </a:p>
        <a:p xmlns:a="http://schemas.openxmlformats.org/drawingml/2006/main">
          <a:pPr algn="ctr"/>
          <a:r>
            <a:rPr lang="ru-RU" sz="12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rPr>
            <a:t>млн рублей</a:t>
          </a:r>
          <a:endParaRPr lang="ru-RU" sz="1200" dirty="0">
            <a:solidFill>
              <a:schemeClr val="tx1"/>
            </a:solidFill>
            <a:latin typeface="Arial" panose="020B0604020202020204" pitchFamily="34" charset="0"/>
            <a:ea typeface="Tahoma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5484</cdr:x>
      <cdr:y>0.31394</cdr:y>
    </cdr:from>
    <cdr:to>
      <cdr:x>0.30968</cdr:x>
      <cdr:y>0.60373</cdr:y>
    </cdr:to>
    <cdr:cxnSp macro="">
      <cdr:nvCxnSpPr>
        <cdr:cNvPr id="7" name="Прямая со стрелкой 6"/>
        <cdr:cNvCxnSpPr/>
      </cdr:nvCxnSpPr>
      <cdr:spPr>
        <a:xfrm xmlns:a="http://schemas.openxmlformats.org/drawingml/2006/main" flipV="1">
          <a:off x="1296144" y="1716186"/>
          <a:ext cx="1296144" cy="158415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903</cdr:x>
      <cdr:y>0.18221</cdr:y>
    </cdr:from>
    <cdr:to>
      <cdr:x>0.36989</cdr:x>
      <cdr:y>0.1953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1080120" y="996084"/>
          <a:ext cx="2016224" cy="7203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3548</cdr:x>
      <cdr:y>0.09001</cdr:y>
    </cdr:from>
    <cdr:to>
      <cdr:x>0.3957</cdr:x>
      <cdr:y>0.12953</cdr:y>
    </cdr:to>
    <cdr:cxnSp macro="">
      <cdr:nvCxnSpPr>
        <cdr:cNvPr id="4" name="Прямая со стрелкой 3"/>
        <cdr:cNvCxnSpPr/>
      </cdr:nvCxnSpPr>
      <cdr:spPr>
        <a:xfrm xmlns:a="http://schemas.openxmlformats.org/drawingml/2006/main">
          <a:off x="2808312" y="492050"/>
          <a:ext cx="504056" cy="21602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3226</cdr:x>
      <cdr:y>0.70911</cdr:y>
    </cdr:from>
    <cdr:to>
      <cdr:x>0.32688</cdr:x>
      <cdr:y>0.78815</cdr:y>
    </cdr:to>
    <cdr:cxnSp macro="">
      <cdr:nvCxnSpPr>
        <cdr:cNvPr id="10" name="Прямая со стрелкой 9"/>
        <cdr:cNvCxnSpPr/>
      </cdr:nvCxnSpPr>
      <cdr:spPr>
        <a:xfrm xmlns:a="http://schemas.openxmlformats.org/drawingml/2006/main" flipV="1">
          <a:off x="1944216" y="3876426"/>
          <a:ext cx="792088" cy="43206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903</cdr:x>
      <cdr:y>0.27442</cdr:y>
    </cdr:from>
    <cdr:to>
      <cdr:x>0.30108</cdr:x>
      <cdr:y>0.45884</cdr:y>
    </cdr:to>
    <cdr:cxnSp macro="">
      <cdr:nvCxnSpPr>
        <cdr:cNvPr id="14" name="Прямая со стрелкой 13"/>
        <cdr:cNvCxnSpPr/>
      </cdr:nvCxnSpPr>
      <cdr:spPr>
        <a:xfrm xmlns:a="http://schemas.openxmlformats.org/drawingml/2006/main" flipV="1">
          <a:off x="1080120" y="1500162"/>
          <a:ext cx="1440160" cy="100811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452</cdr:x>
      <cdr:y>0.24808</cdr:y>
    </cdr:from>
    <cdr:to>
      <cdr:x>0.7828</cdr:x>
      <cdr:y>0.26125</cdr:y>
    </cdr:to>
    <cdr:cxnSp macro="">
      <cdr:nvCxnSpPr>
        <cdr:cNvPr id="8" name="Прямая со стрелкой 7"/>
        <cdr:cNvCxnSpPr/>
      </cdr:nvCxnSpPr>
      <cdr:spPr>
        <a:xfrm xmlns:a="http://schemas.openxmlformats.org/drawingml/2006/main" flipH="1" flipV="1">
          <a:off x="3888432" y="1356146"/>
          <a:ext cx="2664296" cy="7200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6231</cdr:x>
      <cdr:y>0.53511</cdr:y>
    </cdr:from>
    <cdr:to>
      <cdr:x>0.83435</cdr:x>
      <cdr:y>0.6262</cdr:y>
    </cdr:to>
    <cdr:cxnSp macro="">
      <cdr:nvCxnSpPr>
        <cdr:cNvPr id="9" name="Прямая со стрелкой 8"/>
        <cdr:cNvCxnSpPr/>
      </cdr:nvCxnSpPr>
      <cdr:spPr>
        <a:xfrm xmlns:a="http://schemas.openxmlformats.org/drawingml/2006/main" flipH="1">
          <a:off x="5544136" y="2925255"/>
          <a:ext cx="1440159" cy="49795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4731</cdr:x>
      <cdr:y>0.05049</cdr:y>
    </cdr:from>
    <cdr:to>
      <cdr:x>0.74839</cdr:x>
      <cdr:y>0.15587</cdr:y>
    </cdr:to>
    <cdr:cxnSp macro="">
      <cdr:nvCxnSpPr>
        <cdr:cNvPr id="15" name="Прямая со стрелкой 14"/>
        <cdr:cNvCxnSpPr/>
      </cdr:nvCxnSpPr>
      <cdr:spPr>
        <a:xfrm xmlns:a="http://schemas.openxmlformats.org/drawingml/2006/main" flipH="1">
          <a:off x="3744416" y="276026"/>
          <a:ext cx="2520280" cy="57606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</cdr:x>
      <cdr:y>0.24808</cdr:y>
    </cdr:from>
    <cdr:to>
      <cdr:x>0.16942</cdr:x>
      <cdr:y>0.4193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1356155"/>
          <a:ext cx="1457778" cy="9361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100" dirty="0" smtClean="0">
              <a:latin typeface="Arial" panose="020B0604020202020204" pitchFamily="34" charset="0"/>
              <a:cs typeface="Arial" panose="020B0604020202020204" pitchFamily="34" charset="0"/>
            </a:rPr>
            <a:t>Налоги на </a:t>
          </a:r>
          <a:r>
            <a:rPr lang="ru-RU" sz="1300" dirty="0" smtClean="0">
              <a:latin typeface="Arial" panose="020B0604020202020204" pitchFamily="34" charset="0"/>
              <a:cs typeface="Arial" panose="020B0604020202020204" pitchFamily="34" charset="0"/>
            </a:rPr>
            <a:t>имущество</a:t>
          </a:r>
        </a:p>
        <a:p xmlns:a="http://schemas.openxmlformats.org/drawingml/2006/main">
          <a:pPr algn="ctr"/>
          <a:r>
            <a:rPr lang="ru-RU" sz="14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29,1 </a:t>
          </a:r>
          <a:r>
            <a:rPr lang="ru-RU" sz="1400" b="1" dirty="0" err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млн.руб</a:t>
          </a:r>
          <a:r>
            <a: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; </a:t>
          </a:r>
        </a:p>
        <a:p xmlns:a="http://schemas.openxmlformats.org/drawingml/2006/main">
          <a:pPr algn="ctr"/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4,1%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2903</cdr:x>
      <cdr:y>0.20856</cdr:y>
    </cdr:from>
    <cdr:to>
      <cdr:x>0.3395</cdr:x>
      <cdr:y>0.32711</cdr:y>
    </cdr:to>
    <cdr:cxnSp macro="">
      <cdr:nvCxnSpPr>
        <cdr:cNvPr id="6" name="Прямая со стрелкой 5"/>
        <cdr:cNvCxnSpPr/>
      </cdr:nvCxnSpPr>
      <cdr:spPr>
        <a:xfrm xmlns:a="http://schemas.openxmlformats.org/drawingml/2006/main" flipV="1">
          <a:off x="1080120" y="1140122"/>
          <a:ext cx="1761802" cy="648072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1628</cdr:x>
      <cdr:y>0.38636</cdr:y>
    </cdr:from>
    <cdr:to>
      <cdr:x>0.29415</cdr:x>
      <cdr:y>0.46893</cdr:y>
    </cdr:to>
    <cdr:sp macro="" textlink="">
      <cdr:nvSpPr>
        <cdr:cNvPr id="2" name="TextBox 59"/>
        <cdr:cNvSpPr txBox="1"/>
      </cdr:nvSpPr>
      <cdr:spPr>
        <a:xfrm xmlns:a="http://schemas.openxmlformats.org/drawingml/2006/main">
          <a:off x="1800200" y="1296144"/>
          <a:ext cx="64807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rPr>
            <a:t>86,7</a:t>
          </a:r>
          <a:r>
            <a:rPr lang="ru-RU" sz="1200" dirty="0" smtClean="0">
              <a:solidFill>
                <a:sysClr val="window" lastClr="FFFFFF"/>
              </a:solidFill>
            </a:rPr>
            <a:t>%</a:t>
          </a:r>
          <a:endParaRPr lang="ru-RU" sz="1200" dirty="0">
            <a:solidFill>
              <a:sysClr val="window" lastClr="FFFFFF"/>
            </a:solidFill>
          </a:endParaRPr>
        </a:p>
      </cdr:txBody>
    </cdr:sp>
  </cdr:relSizeAnchor>
  <cdr:relSizeAnchor xmlns:cdr="http://schemas.openxmlformats.org/drawingml/2006/chartDrawing">
    <cdr:from>
      <cdr:x>0.38066</cdr:x>
      <cdr:y>0.38636</cdr:y>
    </cdr:from>
    <cdr:to>
      <cdr:x>0.45852</cdr:x>
      <cdr:y>0.46893</cdr:y>
    </cdr:to>
    <cdr:sp macro="" textlink="">
      <cdr:nvSpPr>
        <cdr:cNvPr id="3" name="TextBox 59"/>
        <cdr:cNvSpPr txBox="1"/>
      </cdr:nvSpPr>
      <cdr:spPr>
        <a:xfrm xmlns:a="http://schemas.openxmlformats.org/drawingml/2006/main">
          <a:off x="3168352" y="1296144"/>
          <a:ext cx="64807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rPr>
            <a:t>86,9%</a:t>
          </a:r>
          <a:endParaRPr lang="ru-RU" sz="1200" dirty="0">
            <a:solidFill>
              <a:sysClr val="window" lastClr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4503</cdr:x>
      <cdr:y>0.40782</cdr:y>
    </cdr:from>
    <cdr:to>
      <cdr:x>0.6229</cdr:x>
      <cdr:y>0.49039</cdr:y>
    </cdr:to>
    <cdr:sp macro="" textlink="">
      <cdr:nvSpPr>
        <cdr:cNvPr id="4" name="TextBox 59"/>
        <cdr:cNvSpPr txBox="1"/>
      </cdr:nvSpPr>
      <cdr:spPr>
        <a:xfrm xmlns:a="http://schemas.openxmlformats.org/drawingml/2006/main">
          <a:off x="4536504" y="1368152"/>
          <a:ext cx="64807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rPr>
            <a:t>85,3%</a:t>
          </a:r>
          <a:endParaRPr lang="ru-RU" sz="1200" dirty="0">
            <a:solidFill>
              <a:sysClr val="window" lastClr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0941</cdr:x>
      <cdr:y>0.38636</cdr:y>
    </cdr:from>
    <cdr:to>
      <cdr:x>0.78727</cdr:x>
      <cdr:y>0.46893</cdr:y>
    </cdr:to>
    <cdr:sp macro="" textlink="">
      <cdr:nvSpPr>
        <cdr:cNvPr id="5" name="TextBox 59"/>
        <cdr:cNvSpPr txBox="1"/>
      </cdr:nvSpPr>
      <cdr:spPr>
        <a:xfrm xmlns:a="http://schemas.openxmlformats.org/drawingml/2006/main">
          <a:off x="5904656" y="1296144"/>
          <a:ext cx="64807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ndara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ysClr val="window" lastClr="FFFFFF"/>
              </a:solidFill>
              <a:latin typeface="Arial" panose="020B0604020202020204" pitchFamily="34" charset="0"/>
              <a:cs typeface="Arial" panose="020B0604020202020204" pitchFamily="34" charset="0"/>
            </a:rPr>
            <a:t>84,3%</a:t>
          </a:r>
          <a:endParaRPr lang="ru-RU" sz="1200" dirty="0">
            <a:solidFill>
              <a:sysClr val="window" lastClr="FFFFFF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574</cdr:x>
      <cdr:y>0.216</cdr:y>
    </cdr:from>
    <cdr:to>
      <cdr:x>0.12977</cdr:x>
      <cdr:y>0.3300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477787" y="724644"/>
          <a:ext cx="602333" cy="3825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5976</cdr:x>
      <cdr:y>0.72732</cdr:y>
    </cdr:from>
    <cdr:to>
      <cdr:x>0.21621</cdr:x>
      <cdr:y>0.9452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04056" y="3960440"/>
          <a:ext cx="1319639" cy="11867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Заработная плата</a:t>
          </a:r>
        </a:p>
        <a:p xmlns:a="http://schemas.openxmlformats.org/drawingml/2006/main">
          <a:pPr algn="ctr"/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и начисления</a:t>
          </a:r>
        </a:p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403,7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млн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57,5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4327</cdr:x>
      <cdr:y>0.06017</cdr:y>
    </cdr:from>
    <cdr:to>
      <cdr:x>0.17171</cdr:x>
      <cdr:y>0.23208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65016" y="327641"/>
          <a:ext cx="1083377" cy="9360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Прочие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расходы</a:t>
          </a:r>
        </a:p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123,0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млн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17,6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3418</cdr:x>
      <cdr:y>0.03967</cdr:y>
    </cdr:from>
    <cdr:to>
      <cdr:x>0.83537</cdr:x>
      <cdr:y>0.1952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192688" y="216024"/>
          <a:ext cx="853526" cy="8471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Социальное обеспечение</a:t>
          </a:r>
        </a:p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166,6млн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 23,7  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4575</cdr:x>
      <cdr:y>0.16596</cdr:y>
    </cdr:from>
    <cdr:to>
      <cdr:x>0.95673</cdr:x>
      <cdr:y>0.38162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7133768" y="903705"/>
          <a:ext cx="936103" cy="1174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Обслуживание </a:t>
          </a:r>
        </a:p>
        <a:p xmlns:a="http://schemas.openxmlformats.org/drawingml/2006/main">
          <a:pPr algn="ctr"/>
          <a:r>
            <a:rPr lang="ru-RU" sz="1600" dirty="0">
              <a:latin typeface="Arial" panose="020B0604020202020204" pitchFamily="34" charset="0"/>
              <a:cs typeface="Arial" panose="020B0604020202020204" pitchFamily="34" charset="0"/>
            </a:rPr>
            <a:t>м</a:t>
          </a:r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униципального</a:t>
          </a:r>
        </a:p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 долга</a:t>
          </a:r>
        </a:p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0,003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млн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0,001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4516</cdr:x>
      <cdr:y>0.53584</cdr:y>
    </cdr:from>
    <cdr:to>
      <cdr:x>0.97196</cdr:x>
      <cdr:y>0.70088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7128830" y="2917769"/>
          <a:ext cx="1069544" cy="8986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Arial" panose="020B0604020202020204" pitchFamily="34" charset="0"/>
              <a:cs typeface="Arial" panose="020B0604020202020204" pitchFamily="34" charset="0"/>
            </a:rPr>
            <a:t>Управление</a:t>
          </a:r>
        </a:p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8,2</a:t>
          </a:r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 млн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1,2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4343</cdr:x>
      <cdr:y>0.55134</cdr:y>
    </cdr:from>
    <cdr:to>
      <cdr:x>0.24462</cdr:x>
      <cdr:y>0.70692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296144" y="324036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6734</cdr:x>
      <cdr:y>0.53909</cdr:y>
    </cdr:from>
    <cdr:to>
      <cdr:x>0.26853</cdr:x>
      <cdr:y>0.69467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1512168" y="316835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81954</cdr:x>
      <cdr:y>0.47607</cdr:y>
    </cdr:from>
    <cdr:to>
      <cdr:x>0.89638</cdr:x>
      <cdr:y>0.53584</cdr:y>
    </cdr:to>
    <cdr:cxnSp macro="">
      <cdr:nvCxnSpPr>
        <cdr:cNvPr id="10" name="Прямая со стрелкой 9"/>
        <cdr:cNvCxnSpPr/>
      </cdr:nvCxnSpPr>
      <cdr:spPr>
        <a:xfrm xmlns:a="http://schemas.openxmlformats.org/drawingml/2006/main" flipH="1" flipV="1">
          <a:off x="6912768" y="2592288"/>
          <a:ext cx="648072" cy="32548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9694</cdr:x>
      <cdr:y>0.13951</cdr:y>
    </cdr:from>
    <cdr:to>
      <cdr:x>0.3244</cdr:x>
      <cdr:y>0.18514</cdr:y>
    </cdr:to>
    <cdr:cxnSp macro="">
      <cdr:nvCxnSpPr>
        <cdr:cNvPr id="11" name="Прямая со стрелкой 10"/>
        <cdr:cNvCxnSpPr/>
      </cdr:nvCxnSpPr>
      <cdr:spPr>
        <a:xfrm xmlns:a="http://schemas.openxmlformats.org/drawingml/2006/main">
          <a:off x="1661160" y="759689"/>
          <a:ext cx="1075118" cy="24844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4513</cdr:x>
      <cdr:y>0.67443</cdr:y>
    </cdr:from>
    <cdr:to>
      <cdr:x>0.2305</cdr:x>
      <cdr:y>0.73019</cdr:y>
    </cdr:to>
    <cdr:cxnSp macro="">
      <cdr:nvCxnSpPr>
        <cdr:cNvPr id="12" name="Прямая со стрелкой 11"/>
        <cdr:cNvCxnSpPr/>
      </cdr:nvCxnSpPr>
      <cdr:spPr>
        <a:xfrm xmlns:a="http://schemas.openxmlformats.org/drawingml/2006/main" flipV="1">
          <a:off x="1224136" y="3672408"/>
          <a:ext cx="720080" cy="30362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1954</cdr:x>
      <cdr:y>0.36432</cdr:y>
    </cdr:from>
    <cdr:to>
      <cdr:x>0.88843</cdr:x>
      <cdr:y>0.45015</cdr:y>
    </cdr:to>
    <cdr:cxnSp macro="">
      <cdr:nvCxnSpPr>
        <cdr:cNvPr id="15" name="Прямая со стрелкой 14"/>
        <cdr:cNvCxnSpPr/>
      </cdr:nvCxnSpPr>
      <cdr:spPr>
        <a:xfrm xmlns:a="http://schemas.openxmlformats.org/drawingml/2006/main" flipH="1">
          <a:off x="6912730" y="1983825"/>
          <a:ext cx="581078" cy="46734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8322</cdr:x>
      <cdr:y>0.0853</cdr:y>
    </cdr:from>
    <cdr:to>
      <cdr:x>0.7145</cdr:x>
      <cdr:y>0.13819</cdr:y>
    </cdr:to>
    <cdr:cxnSp macro="">
      <cdr:nvCxnSpPr>
        <cdr:cNvPr id="16" name="Прямая со стрелкой 15"/>
        <cdr:cNvCxnSpPr/>
      </cdr:nvCxnSpPr>
      <cdr:spPr>
        <a:xfrm xmlns:a="http://schemas.openxmlformats.org/drawingml/2006/main" flipH="1">
          <a:off x="5762902" y="464477"/>
          <a:ext cx="263843" cy="28799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1224</cdr:x>
      <cdr:y>0.13638</cdr:y>
    </cdr:from>
    <cdr:to>
      <cdr:x>0.20408</cdr:x>
      <cdr:y>0.2185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92053" y="716869"/>
          <a:ext cx="648107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600" b="1" dirty="0"/>
        </a:p>
      </cdr:txBody>
    </cdr:sp>
  </cdr:relSizeAnchor>
  <cdr:relSizeAnchor xmlns:cdr="http://schemas.openxmlformats.org/drawingml/2006/chartDrawing">
    <cdr:from>
      <cdr:x>0.34694</cdr:x>
      <cdr:y>0.02721</cdr:y>
    </cdr:from>
    <cdr:to>
      <cdr:x>0.44898</cdr:x>
      <cdr:y>0.082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448272" y="143008"/>
          <a:ext cx="720081" cy="2880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813,8</a:t>
          </a:r>
          <a:endParaRPr lang="ru-RU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7143</cdr:x>
      <cdr:y>0.04893</cdr:y>
    </cdr:from>
    <cdr:to>
      <cdr:x>0.67551</cdr:x>
      <cdr:y>0.10959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4032448" y="257204"/>
          <a:ext cx="734470" cy="3188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789,2</a:t>
          </a:r>
          <a:endParaRPr lang="ru-RU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1633</cdr:x>
      <cdr:y>0.11354</cdr:y>
    </cdr:from>
    <cdr:to>
      <cdr:x>0.92042</cdr:x>
      <cdr:y>0.16834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60664" y="596838"/>
          <a:ext cx="734541" cy="288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701,5</a:t>
          </a:r>
          <a:endParaRPr lang="ru-RU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45763</cdr:x>
      <cdr:y>0.63718</cdr:y>
    </cdr:from>
    <cdr:to>
      <cdr:x>0.67286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44216" y="172819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8814</cdr:x>
      <cdr:y>0.17143</cdr:y>
    </cdr:from>
    <cdr:to>
      <cdr:x>0.55421</cdr:x>
      <cdr:y>0.3714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24136" y="432048"/>
          <a:ext cx="1130424" cy="504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5737</cdr:x>
      <cdr:y>0.08571</cdr:y>
    </cdr:from>
    <cdr:to>
      <cdr:x>0.45735</cdr:x>
      <cdr:y>0.42856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68595" y="216024"/>
          <a:ext cx="1274456" cy="8640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300" dirty="0" smtClean="0">
              <a:latin typeface="Arial" panose="020B0604020202020204" pitchFamily="34" charset="0"/>
              <a:cs typeface="Arial" panose="020B0604020202020204" pitchFamily="34" charset="0"/>
            </a:rPr>
            <a:t>Иные расходы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210,5  млн. руб. 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30,0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0678</cdr:x>
      <cdr:y>0.4</cdr:y>
    </cdr:from>
    <cdr:to>
      <cdr:x>0.89831</cdr:x>
      <cdr:y>0.76282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108980" y="1008112"/>
          <a:ext cx="2548351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Расходы на социальную сферу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491,0 млн. руб.</a:t>
          </a:r>
        </a:p>
        <a:p xmlns:a="http://schemas.openxmlformats.org/drawingml/2006/main">
          <a:pPr algn="ctr"/>
          <a:r>
            <a:rPr lang="ru-RU" sz="1600" b="1" dirty="0" smtClean="0">
              <a:latin typeface="Arial" panose="020B0604020202020204" pitchFamily="34" charset="0"/>
              <a:cs typeface="Arial" panose="020B0604020202020204" pitchFamily="34" charset="0"/>
            </a:rPr>
            <a:t>70,0%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77456</cdr:x>
      <cdr:y>0.42018</cdr:y>
    </cdr:from>
    <cdr:to>
      <cdr:x>1</cdr:x>
      <cdr:y>0.70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960440" y="136815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87227</cdr:x>
      <cdr:y>0.38462</cdr:y>
    </cdr:from>
    <cdr:to>
      <cdr:x>0.97754</cdr:x>
      <cdr:y>0.5128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176464" y="1080120"/>
          <a:ext cx="504035" cy="360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236,9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7676</cdr:x>
      <cdr:y>0.53846</cdr:y>
    </cdr:from>
    <cdr:to>
      <cdr:x>0.79707</cdr:x>
      <cdr:y>0.6410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240360" y="1512168"/>
          <a:ext cx="576048" cy="288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134,4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9629</cdr:x>
      <cdr:y>0.66667</cdr:y>
    </cdr:from>
    <cdr:to>
      <cdr:x>0.60156</cdr:x>
      <cdr:y>0.79487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376264" y="1872208"/>
          <a:ext cx="504035" cy="360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24,8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8125</cdr:x>
      <cdr:y>0.82051</cdr:y>
    </cdr:from>
    <cdr:to>
      <cdr:x>0.59037</cdr:x>
      <cdr:y>0.9225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304256" y="2304256"/>
          <a:ext cx="522470" cy="2865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9,4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89231</cdr:x>
      <cdr:y>0.32849</cdr:y>
    </cdr:from>
    <cdr:to>
      <cdr:x>0.98462</cdr:x>
      <cdr:y>0.4310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176464" y="1008123"/>
          <a:ext cx="432048" cy="3147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45,0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9231</cdr:x>
      <cdr:y>0.56312</cdr:y>
    </cdr:from>
    <cdr:to>
      <cdr:x>0.8</cdr:x>
      <cdr:y>0.65796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240360" y="1728193"/>
          <a:ext cx="504056" cy="2910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16,9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8462</cdr:x>
      <cdr:y>0.70205</cdr:y>
    </cdr:from>
    <cdr:to>
      <cdr:x>0.77998</cdr:x>
      <cdr:y>0.86814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736304" y="2154560"/>
          <a:ext cx="914400" cy="5097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8462</cdr:x>
      <cdr:y>0.77429</cdr:y>
    </cdr:from>
    <cdr:to>
      <cdr:x>0.77998</cdr:x>
      <cdr:y>0.86999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736304" y="2376264"/>
          <a:ext cx="914386" cy="293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3,6</a:t>
          </a:r>
        </a:p>
        <a:p xmlns:a="http://schemas.openxmlformats.org/drawingml/2006/main">
          <a:endParaRPr lang="ru-RU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66018</cdr:x>
      <cdr:y>0.3316</cdr:y>
    </cdr:from>
    <cdr:to>
      <cdr:x>0.80332</cdr:x>
      <cdr:y>0.4220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725296" y="1008112"/>
          <a:ext cx="590899" cy="2750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3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,0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5552</cdr:x>
      <cdr:y>0.54478</cdr:y>
    </cdr:from>
    <cdr:to>
      <cdr:x>0.73374</cdr:x>
      <cdr:y>0.6578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293248" y="1656184"/>
          <a:ext cx="735713" cy="3437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0,7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1717</cdr:x>
      <cdr:y>0.75795</cdr:y>
    </cdr:from>
    <cdr:to>
      <cdr:x>0.97416</cdr:x>
      <cdr:y>0.8763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373368" y="2304252"/>
          <a:ext cx="648081" cy="3600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Arial" panose="020B0604020202020204" pitchFamily="34" charset="0"/>
              <a:cs typeface="Arial" panose="020B0604020202020204" pitchFamily="34" charset="0"/>
            </a:rPr>
            <a:t>1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3,5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6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AD5364-B19A-444D-8088-86F5D5BFB1E0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6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9CF9D2-FEA7-492D-A6CE-B22CF593F4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2266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580D64-30F2-4AB7-9429-EF111170A5CF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378826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AB93F4-D869-43FF-A67B-2773E6422A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63044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AB93F4-D869-43FF-A67B-2773E6422A11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5130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6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96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Петухова Г.Е.</a:t>
            </a: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2964594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7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478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87701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Подковыров В.Е. + Сидоренко С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339130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Подковыров В.Е. + Сидоренко С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318946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Подковыров В.Е. + Сидоренко С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798738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Подковыров В.Е. + Сидоренко С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716625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60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Хужеев Р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579022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40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>
                <a:latin typeface="Arial" charset="0"/>
              </a:rPr>
              <a:t>Ответственный исполнитель: Сидоренко С.А.</a:t>
            </a:r>
            <a:endParaRPr lang="ru-RU" smtClean="0"/>
          </a:p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757043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AB93F4-D869-43FF-A67B-2773E6422A11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022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AB93F4-D869-43FF-A67B-2773E6422A11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556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0"/>
            <a:ext cx="2057400" cy="4487333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4736592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8" y="4203592"/>
            <a:ext cx="2876429" cy="714026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4075290"/>
            <a:ext cx="5544515" cy="850138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8" y="4087562"/>
            <a:ext cx="5467980" cy="774272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4074174"/>
            <a:ext cx="3308000" cy="651549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4058555"/>
            <a:ext cx="8723376" cy="1329874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437448"/>
            <a:ext cx="6417734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2" y="3429000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0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29874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E80666-FB37-4B36-9149-507F3B0178E3}" type="datetimeFigureOut">
              <a:rPr lang="en-US" smtClean="0"/>
              <a:pPr/>
              <a:t>6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" name="TextBox 5"/>
          <p:cNvSpPr txBox="1">
            <a:spLocks noChangeArrowheads="1"/>
          </p:cNvSpPr>
          <p:nvPr userDrawn="1"/>
        </p:nvSpPr>
        <p:spPr bwMode="auto">
          <a:xfrm>
            <a:off x="1835696" y="282550"/>
            <a:ext cx="7056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800" dirty="0" smtClean="0">
                <a:latin typeface="Calibri" pitchFamily="34" charset="0"/>
              </a:rPr>
              <a:t> </a:t>
            </a:r>
            <a:endParaRPr lang="ru-RU" sz="1800" dirty="0">
              <a:latin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0"/>
            <a:ext cx="3352800" cy="19050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5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3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</p:spTree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246888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679429"/>
            <a:ext cx="8723376" cy="1329874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8" y="6250164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C9DD3956-B6DF-418C-80DE-61770F82A95E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7" y="2675467"/>
            <a:ext cx="7408333" cy="3450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5" name="TextBox 5"/>
          <p:cNvSpPr txBox="1">
            <a:spLocks noChangeArrowheads="1"/>
          </p:cNvSpPr>
          <p:nvPr userDrawn="1"/>
        </p:nvSpPr>
        <p:spPr bwMode="auto">
          <a:xfrm>
            <a:off x="1143430" y="620688"/>
            <a:ext cx="525621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 </a:t>
            </a:r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17" Type="http://schemas.openxmlformats.org/officeDocument/2006/relationships/image" Target="../media/image43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5" Type="http://schemas.openxmlformats.org/officeDocument/2006/relationships/image" Target="../media/image41.jpeg"/><Relationship Id="rId10" Type="http://schemas.openxmlformats.org/officeDocument/2006/relationships/image" Target="../media/image36.jpeg"/><Relationship Id="rId19" Type="http://schemas.openxmlformats.org/officeDocument/2006/relationships/image" Target="../media/image45.jpeg"/><Relationship Id="rId4" Type="http://schemas.openxmlformats.org/officeDocument/2006/relationships/image" Target="../media/image30.jpeg"/><Relationship Id="rId9" Type="http://schemas.openxmlformats.org/officeDocument/2006/relationships/image" Target="../media/image35.jpeg"/><Relationship Id="rId14" Type="http://schemas.openxmlformats.org/officeDocument/2006/relationships/image" Target="../media/image4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jpe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10" Type="http://schemas.openxmlformats.org/officeDocument/2006/relationships/image" Target="../media/image56.jpeg"/><Relationship Id="rId4" Type="http://schemas.openxmlformats.org/officeDocument/2006/relationships/image" Target="../media/image50.jpeg"/><Relationship Id="rId9" Type="http://schemas.openxmlformats.org/officeDocument/2006/relationships/image" Target="../media/image5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Relationship Id="rId9" Type="http://schemas.openxmlformats.org/officeDocument/2006/relationships/image" Target="../media/image6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jpeg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jpeg"/><Relationship Id="rId5" Type="http://schemas.openxmlformats.org/officeDocument/2006/relationships/image" Target="../media/image80.png"/><Relationship Id="rId4" Type="http://schemas.openxmlformats.org/officeDocument/2006/relationships/image" Target="../media/image79.jpe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4.jpeg"/><Relationship Id="rId4" Type="http://schemas.openxmlformats.org/officeDocument/2006/relationships/image" Target="../media/image8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4" Type="http://schemas.openxmlformats.org/officeDocument/2006/relationships/chart" Target="../charts/char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7" Type="http://schemas.openxmlformats.org/officeDocument/2006/relationships/image" Target="../media/image90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9.pn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gif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5.jpeg"/><Relationship Id="rId5" Type="http://schemas.openxmlformats.org/officeDocument/2006/relationships/image" Target="../media/image94.jpeg"/><Relationship Id="rId4" Type="http://schemas.openxmlformats.org/officeDocument/2006/relationships/image" Target="../media/image9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tverfin@yandex.ru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image" Target="../media/image8.jpeg"/><Relationship Id="rId68" Type="http://schemas.openxmlformats.org/officeDocument/2006/relationships/image" Target="../media/image13.jpeg"/><Relationship Id="rId7" Type="http://schemas.openxmlformats.org/officeDocument/2006/relationships/tags" Target="../tags/tag7.xml"/><Relationship Id="rId71" Type="http://schemas.openxmlformats.org/officeDocument/2006/relationships/image" Target="../media/image16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slideLayout" Target="../slideLayouts/slideLayout7.xml"/><Relationship Id="rId66" Type="http://schemas.openxmlformats.org/officeDocument/2006/relationships/image" Target="../media/image11.jpeg"/><Relationship Id="rId74" Type="http://schemas.openxmlformats.org/officeDocument/2006/relationships/image" Target="../media/image19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image" Target="../media/image6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image" Target="../media/image5.emf"/><Relationship Id="rId65" Type="http://schemas.openxmlformats.org/officeDocument/2006/relationships/image" Target="../media/image10.jpeg"/><Relationship Id="rId73" Type="http://schemas.openxmlformats.org/officeDocument/2006/relationships/image" Target="../media/image18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image" Target="../media/image9.jpeg"/><Relationship Id="rId69" Type="http://schemas.openxmlformats.org/officeDocument/2006/relationships/image" Target="../media/image14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image" Target="../media/image17.jpe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oleObject" Target="../embeddings/oleObject1.bin"/><Relationship Id="rId67" Type="http://schemas.openxmlformats.org/officeDocument/2006/relationships/image" Target="../media/image12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image" Target="../media/image7.jpeg"/><Relationship Id="rId70" Type="http://schemas.openxmlformats.org/officeDocument/2006/relationships/image" Target="../media/image15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image" Target="../media/image24.jpeg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hyperlink" Target="http://yandex.ru/images/search?img_url=http://img.rufox.ru/files/big2/547696.jpg&amp;uinfo=sw-1920-sh-1080-ww-1903-wh-950-pd-1-wp-16x9_1920x1080&amp;_=1416797827570&amp;viewport=wide&amp;p=6&amp;text=%D1%81%D0%BF%D0%BE%D1%80%D1%82%20%D0%B8%D1%80%D0%BA%D1%83%D1%82%D1%81%D0%BA%D0%BE%D0%B9%20%D0%BE%D0%B1%D0%BB%D0%B0%D1%81%D1%82%D0%B8%20%D0%B2%20%D0%BA%D0%B0%D1%80%D1%82%D0%B8%D0%BD%D0%BA%D0%B0%D1%85&amp;pos=187&amp;rpt=simage&amp;pin=1" TargetMode="External"/><Relationship Id="rId42" Type="http://schemas.openxmlformats.org/officeDocument/2006/relationships/hyperlink" Target="http://yandex.ru/images/search?img_url=http://news.mail.ru/prev670x400/pic/ca/e7/150582_source.jpg&amp;uinfo=sw-1920-sh-1080-ww-1903-wh-950-pd-1-wp-16x9_1920x1080&amp;_=1416798501887&amp;viewport=wide&amp;p=2&amp;text=%D0%B6%D0%B8%D0%BB%D0%B8%D1%89%D0%BD%D0%BE-%D0%BA%D0%BE%D0%BC%D0%BC%D1%83%D0%BD%D0%B0%D0%BB%D1%8C%D0%BD%D0%BE%D0%B5%20%D1%85%D0%BE%D0%B7%D1%8F%D0%B9%D1%81%D1%82%D0%B2%D0%BE%20%D0%B8%D1%80%D0%BA%D1%83%D1%82%D1%81%D0%BA%D0%BE%D0%B9%20%D0%BE%D0%B1%D0%BB%D0%B0%D1%81%D1%82%D0%B8%20%D0%B2%20%D0%BA%D0%B0%D1%80%D1%82%D0%B8%D0%BD%D0%BA%D0%B0%D1%85&amp;pos=70&amp;rpt=simage&amp;pin=1" TargetMode="Externa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image" Target="../media/image21.jpeg"/><Relationship Id="rId38" Type="http://schemas.openxmlformats.org/officeDocument/2006/relationships/hyperlink" Target="http://yandex.ru/images/search?img_url=http://image.zn.ua/media/images/300x200/Mar2011/32183.jpg&amp;uinfo=sw-1920-sh-1080-ww-1903-wh-950-pd-1-wp-16x9_1920x1080&amp;_=1416798297822&amp;viewport=wide&amp;p=7&amp;text=%D0%BD%D0%B0%D1%86%D0%B8%D0%BE%D0%BD%D0%B0%D0%BB%D1%8C%D0%BD%D0%B0%D1%8F%20%D1%8D%D0%BA%D0%BE%D0%BD%D0%BE%D0%BC%D0%B8%D0%BA%D0%B0%20%D0%B8%D1%80%D0%BA%D1%83%D1%82%D1%81%D0%BA%D0%BE%D0%B9%20%D0%BE%D0%B1%D0%BB%D0%B0%D1%81%D1%82%D0%B8%20%D0%B2%20%D0%BA%D0%B0%D1%80%D1%82%D0%B8%D0%BD%D0%BA%D0%B0%D1%85&amp;pos=229&amp;rpt=simage&amp;pin=1" TargetMode="Externa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image" Target="../media/image5.emf"/><Relationship Id="rId41" Type="http://schemas.openxmlformats.org/officeDocument/2006/relationships/image" Target="../media/image2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hyperlink" Target="http://yandex.ru/images/search?img_url=http://novos.mk.ru/upload/iblock_mk/475/38/fd/35/DETAIL_PICTURE_551889.jpg&amp;uinfo=sw-1920-sh-1080-ww-1903-wh-950-pd-1-wp-16x9_1920x1080&amp;_=1416797649386&amp;viewport=wide&amp;p=4&amp;text=%D0%BE%D1%84%D0%B8%D1%86%D0%B8%D0%B0%D0%BB%D1%8C%D0%BD%D1%8B%D0%B9%20%D1%81%D0%B0%D0%B9%D1%82%20%D0%BC%D0%B8%D0%BD%D0%B8%D1%81%D1%82%D0%B5%D1%80%D1%81%D1%82%D0%B2%D0%B0%20%D1%81%D0%BE%D1%86%D0%B8%D0%B0%D0%BB%D1%8C%D0%BD%D0%BE%D0%B9%20%D0%BF%D0%BE%D0%BB%D0%B8%D1%82%D0%B8%D0%BA%D0%B8%20%D0%B8%D1%80%D0%BA%D1%83%D1%82%D1%81%D0%BA%D0%BE%D0%B9%20%D0%BE%D0%B1%D0%BB%D0%B0%D1%81%D1%82%D0%B8%20%D0%B2%20%D0%BA%D0%B0%D1%80%D1%82%D0%B8%D0%BD%D0%BA%D0%B0%D1%85&amp;pos=130&amp;rpt=simage&amp;pin=1" TargetMode="External"/><Relationship Id="rId37" Type="http://schemas.openxmlformats.org/officeDocument/2006/relationships/image" Target="../media/image23.jpeg"/><Relationship Id="rId40" Type="http://schemas.openxmlformats.org/officeDocument/2006/relationships/hyperlink" Target="http://yandex.ru/images/search?img_url=http://wap.mplaza.ru/parser/images/b4bc56eb58adfa458afa09d039194a3c.jpg&amp;uinfo=sw-1920-sh-1080-ww-1903-wh-950-pd-1-wp-16x9_1920x1080&amp;_=1416798304031&amp;viewport=wide&amp;p=8&amp;text=%D0%BD%D0%B0%D1%86%D0%B8%D0%BE%D0%BD%D0%B0%D0%BB%D1%8C%D0%BD%D0%B0%D1%8F%20%D1%8D%D0%BA%D0%BE%D0%BD%D0%BE%D0%BC%D0%B8%D0%BA%D0%B0%20%D0%B8%D1%80%D0%BA%D1%83%D1%82%D1%81%D0%BA%D0%BE%D0%B9%20%D0%BE%D0%B1%D0%BB%D0%B0%D1%81%D1%82%D0%B8%20%D0%B2%20%D0%BA%D0%B0%D1%80%D1%82%D0%B8%D0%BD%D0%BA%D0%B0%D1%85&amp;pos=261&amp;rpt=simage&amp;pin=1" TargetMode="External"/><Relationship Id="rId45" Type="http://schemas.openxmlformats.org/officeDocument/2006/relationships/image" Target="../media/image28.jpe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oleObject" Target="../embeddings/oleObject2.bin"/><Relationship Id="rId36" Type="http://schemas.openxmlformats.org/officeDocument/2006/relationships/hyperlink" Target="http://yandex.ru/images/search?img_url=http://uralpolit.ru/sites/fedpress/files/imagecache/blog_120x86/ryabowall/news/irkutskaya.jpg&amp;uinfo=sw-1920-sh-1080-ww-1903-wh-950-pd-1-wp-16x9_1920x1080&amp;_=1416798069542&amp;viewport=wide&amp;p=3&amp;text=%D0%BE%D0%B1%D1%89%D0%B5%D0%B3%D0%BE%D1%81%D1%83%D0%B4%D0%B0%D1%80%D1%81%D1%82%D0%B2%D0%B5%D0%BD%D0%BD%D1%8B%D0%B5%20%D1%80%D0%B0%D1%81%D1%85%D0%BE%D0%B4%D1%8B%20%D0%B8%D1%80%D0%BA%D1%83%D1%82%D1%81%D0%BA%D0%BE%D0%B9%20%D0%BE%D0%B1%D0%BB%D0%B0%D1%81%D1%82%D0%B8%20%D0%B2%20%D0%BA%D0%B0%D1%80%D1%82%D0%B8%D0%BD%D0%BA%D0%B0%D1%85&amp;pos=90&amp;rpt=simage&amp;pin=1" TargetMode="Externa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image" Target="../media/image20.jpeg"/><Relationship Id="rId44" Type="http://schemas.openxmlformats.org/officeDocument/2006/relationships/image" Target="../media/image27.jpe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slideLayout" Target="../slideLayouts/slideLayout7.xml"/><Relationship Id="rId30" Type="http://schemas.openxmlformats.org/officeDocument/2006/relationships/hyperlink" Target="http://yandex.ru/images/search?source=wiz&amp;img_url=http://moikompas.ru/img/compas/2008-07-05/irkutsk/79283498.jpg&amp;uinfo=sw-1920-sh-1080-ww-1903-wh-950-pd-1-wp-16x9_1920x1080&amp;_=1416797010481&amp;viewport=wide&amp;p=1&amp;text=%D0%BA%D1%83%D0%BB%D1%8C%D1%82%D1%83%D1%80%D0%B0%20%D0%B8%D1%80%D0%BA%D1%83%D1%82%D1%81%D0%BA%D0%BE%D0%B9%20%D0%BE%D0%B1%D0%BB%D0%B0%D1%81%D1%82%D0%B8%20%D0%B2%20%D0%BA%D0%B0%D1%80%D1%82%D0%B8%D0%BD%D0%BA%D0%B0%D1%85&amp;noreask=1&amp;pos=41&amp;rpt=simage&amp;lr=63&amp;pin=1" TargetMode="External"/><Relationship Id="rId35" Type="http://schemas.openxmlformats.org/officeDocument/2006/relationships/image" Target="../media/image22.jpeg"/><Relationship Id="rId43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tags" Target="../tags/tag122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42" Type="http://schemas.openxmlformats.org/officeDocument/2006/relationships/tags" Target="../tags/tag125.xml"/><Relationship Id="rId47" Type="http://schemas.openxmlformats.org/officeDocument/2006/relationships/tags" Target="../tags/tag130.xml"/><Relationship Id="rId50" Type="http://schemas.openxmlformats.org/officeDocument/2006/relationships/slideLayout" Target="../slideLayouts/slideLayout7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tags" Target="../tags/tag121.xml"/><Relationship Id="rId46" Type="http://schemas.openxmlformats.org/officeDocument/2006/relationships/tags" Target="../tags/tag129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41" Type="http://schemas.openxmlformats.org/officeDocument/2006/relationships/tags" Target="../tags/tag124.xml"/><Relationship Id="rId54" Type="http://schemas.openxmlformats.org/officeDocument/2006/relationships/chart" Target="../charts/chart3.xml"/><Relationship Id="rId1" Type="http://schemas.openxmlformats.org/officeDocument/2006/relationships/vmlDrawing" Target="../drawings/vmlDrawing3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tags" Target="../tags/tag123.xml"/><Relationship Id="rId45" Type="http://schemas.openxmlformats.org/officeDocument/2006/relationships/tags" Target="../tags/tag128.xml"/><Relationship Id="rId53" Type="http://schemas.openxmlformats.org/officeDocument/2006/relationships/image" Target="../media/image5.emf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49" Type="http://schemas.openxmlformats.org/officeDocument/2006/relationships/tags" Target="../tags/tag132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4" Type="http://schemas.openxmlformats.org/officeDocument/2006/relationships/tags" Target="../tags/tag127.xml"/><Relationship Id="rId52" Type="http://schemas.openxmlformats.org/officeDocument/2006/relationships/oleObject" Target="../embeddings/oleObject3.bin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43" Type="http://schemas.openxmlformats.org/officeDocument/2006/relationships/tags" Target="../tags/tag126.xml"/><Relationship Id="rId48" Type="http://schemas.openxmlformats.org/officeDocument/2006/relationships/tags" Target="../tags/tag131.xml"/><Relationship Id="rId8" Type="http://schemas.openxmlformats.org/officeDocument/2006/relationships/tags" Target="../tags/tag91.xml"/><Relationship Id="rId51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8"/>
          <p:cNvSpPr txBox="1">
            <a:spLocks noChangeArrowheads="1"/>
          </p:cNvSpPr>
          <p:nvPr/>
        </p:nvSpPr>
        <p:spPr bwMode="auto">
          <a:xfrm>
            <a:off x="251520" y="2798930"/>
            <a:ext cx="8712968" cy="349326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78000"/>
                </a:schemeClr>
              </a:gs>
              <a:gs pos="76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86000"/>
              </a:srgbClr>
            </a:outerShdw>
            <a:reflection endPos="0" dir="5400000" sy="-100000" algn="bl" rotWithShape="0"/>
          </a:effec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О проекте бюджета </a:t>
            </a:r>
            <a:endParaRPr lang="ru-RU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Лихославльского муниципального округа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на </a:t>
            </a: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2022 год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и плановый период 2023 и 2024 года»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Arial Black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88024" y="260648"/>
            <a:ext cx="7128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Администрация Лихославльского   муниципального  округа </a:t>
            </a:r>
            <a:endParaRPr lang="ru-RU" sz="2000" b="1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  <p:pic>
        <p:nvPicPr>
          <p:cNvPr id="35842" name="Picture 2" descr="Coat of Arms of Likhoslavl (Tver oblast)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60647"/>
            <a:ext cx="1152128" cy="14516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7149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4095310039"/>
              </p:ext>
            </p:extLst>
          </p:nvPr>
        </p:nvGraphicFramePr>
        <p:xfrm>
          <a:off x="534576" y="1085135"/>
          <a:ext cx="8434888" cy="544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6036" name="TextBox 16"/>
          <p:cNvSpPr txBox="1">
            <a:spLocks noChangeArrowheads="1"/>
          </p:cNvSpPr>
          <p:nvPr/>
        </p:nvSpPr>
        <p:spPr bwMode="auto">
          <a:xfrm>
            <a:off x="323528" y="188640"/>
            <a:ext cx="853534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2800" dirty="0">
                <a:solidFill>
                  <a:schemeClr val="bg1"/>
                </a:solidFill>
                <a:latin typeface="Calibri" pitchFamily="34" charset="0"/>
              </a:rPr>
              <a:t>Структура расходов </a:t>
            </a:r>
            <a:r>
              <a:rPr lang="ru-RU" sz="2800" dirty="0" smtClean="0">
                <a:solidFill>
                  <a:schemeClr val="bg1"/>
                </a:solidFill>
                <a:latin typeface="Calibri" pitchFamily="34" charset="0"/>
              </a:rPr>
              <a:t>бюджета </a:t>
            </a:r>
            <a:r>
              <a:rPr lang="ru-RU" sz="2800" dirty="0" err="1" smtClean="0">
                <a:solidFill>
                  <a:schemeClr val="bg1"/>
                </a:solidFill>
                <a:latin typeface="Calibri" pitchFamily="34" charset="0"/>
              </a:rPr>
              <a:t>Лихославльского</a:t>
            </a:r>
            <a:r>
              <a:rPr lang="ru-RU" sz="28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2400" dirty="0" smtClean="0">
                <a:solidFill>
                  <a:schemeClr val="bg1"/>
                </a:solidFill>
                <a:latin typeface="Calibri" pitchFamily="34" charset="0"/>
              </a:rPr>
              <a:t>муниципального округа на 2022 </a:t>
            </a:r>
            <a:r>
              <a:rPr lang="ru-RU" sz="2400" dirty="0">
                <a:solidFill>
                  <a:schemeClr val="bg1"/>
                </a:solidFill>
                <a:latin typeface="Calibri" pitchFamily="34" charset="0"/>
              </a:rPr>
              <a:t>год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63888" y="3501008"/>
            <a:ext cx="266429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1,5</a:t>
            </a:r>
            <a:r>
              <a:rPr lang="en-US" sz="3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рублей</a:t>
            </a:r>
            <a:endParaRPr lang="ru-RU" sz="3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64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1871545215"/>
              </p:ext>
            </p:extLst>
          </p:nvPr>
        </p:nvGraphicFramePr>
        <p:xfrm>
          <a:off x="827584" y="1412776"/>
          <a:ext cx="7056784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-396552" y="179836"/>
            <a:ext cx="87129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Динамика </a:t>
            </a: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расходов бюджета </a:t>
            </a:r>
            <a:r>
              <a:rPr lang="ru-RU" sz="2800" b="1" dirty="0" err="1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муниципального округа </a:t>
            </a:r>
            <a:endParaRPr lang="ru-RU" sz="2800" b="1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29830" y="1031963"/>
            <a:ext cx="10070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млн. руб.</a:t>
            </a:r>
            <a:endParaRPr lang="ru-RU" sz="1600" dirty="0"/>
          </a:p>
        </p:txBody>
      </p:sp>
      <p:sp>
        <p:nvSpPr>
          <p:cNvPr id="6" name="TextBox 1"/>
          <p:cNvSpPr txBox="1"/>
          <p:nvPr/>
        </p:nvSpPr>
        <p:spPr>
          <a:xfrm>
            <a:off x="1547662" y="1484784"/>
            <a:ext cx="720081" cy="185197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9,8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96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1964081547"/>
              </p:ext>
            </p:extLst>
          </p:nvPr>
        </p:nvGraphicFramePr>
        <p:xfrm>
          <a:off x="179512" y="1268760"/>
          <a:ext cx="4248472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4246297957"/>
              </p:ext>
            </p:extLst>
          </p:nvPr>
        </p:nvGraphicFramePr>
        <p:xfrm>
          <a:off x="4342546" y="1153354"/>
          <a:ext cx="4788024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269183069"/>
              </p:ext>
            </p:extLst>
          </p:nvPr>
        </p:nvGraphicFramePr>
        <p:xfrm>
          <a:off x="107504" y="3789040"/>
          <a:ext cx="4680520" cy="3068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920814488"/>
              </p:ext>
            </p:extLst>
          </p:nvPr>
        </p:nvGraphicFramePr>
        <p:xfrm>
          <a:off x="5015056" y="3789040"/>
          <a:ext cx="4128120" cy="3040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95536" y="116632"/>
            <a:ext cx="84969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Бюджет Лихославльского муниципального округа на 2022 год – социальный </a:t>
            </a:r>
            <a:r>
              <a:rPr lang="ru-RU" sz="28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бюджет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6372200" y="1844824"/>
            <a:ext cx="504057" cy="288032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,8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78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 descr="C:\Users\Niggadyai\Desktop\апка\6.jpg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2771800" y="4449689"/>
            <a:ext cx="2423247" cy="1437207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43" name="Picture 19" descr="C:\Users\Niggadyai\Desktop\апка\vNI9e6ViQW-800x600.jpg"/>
          <p:cNvPicPr>
            <a:picLocks noChangeAspect="1" noChangeArrowheads="1"/>
          </p:cNvPicPr>
          <p:nvPr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24907" y="4768062"/>
            <a:ext cx="2291837" cy="1717509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28" name="Picture 4" descr="C:\Users\Niggadyai\Desktop\апка\025147.jpg"/>
          <p:cNvPicPr>
            <a:picLocks noChangeAspect="1" noChangeArrowheads="1"/>
          </p:cNvPicPr>
          <p:nvPr/>
        </p:nvPicPr>
        <p:blipFill>
          <a:blip r:embed="rId5" cstate="print">
            <a:extLst/>
          </a:blip>
          <a:srcRect/>
          <a:stretch>
            <a:fillRect/>
          </a:stretch>
        </p:blipFill>
        <p:spPr bwMode="auto">
          <a:xfrm>
            <a:off x="1475656" y="4045971"/>
            <a:ext cx="1660178" cy="1350264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3" name="Picture 9" descr="C:\Users\Niggadyai\Desktop\апка\_2063.jpg"/>
          <p:cNvPicPr>
            <a:picLocks noChangeAspect="1" noChangeArrowheads="1"/>
          </p:cNvPicPr>
          <p:nvPr/>
        </p:nvPicPr>
        <p:blipFill>
          <a:blip r:embed="rId6" cstate="print">
            <a:extLst/>
          </a:blip>
          <a:srcRect/>
          <a:stretch>
            <a:fillRect/>
          </a:stretch>
        </p:blipFill>
        <p:spPr bwMode="auto">
          <a:xfrm>
            <a:off x="7379585" y="4557659"/>
            <a:ext cx="1693899" cy="1459955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9" name="Picture 15" descr="C:\Users\Niggadyai\Desktop\апка\image56773067.jpg"/>
          <p:cNvPicPr>
            <a:picLocks noChangeAspect="1" noChangeArrowheads="1"/>
          </p:cNvPicPr>
          <p:nvPr/>
        </p:nvPicPr>
        <p:blipFill>
          <a:blip r:embed="rId7" cstate="print">
            <a:extLst/>
          </a:blip>
          <a:srcRect/>
          <a:stretch>
            <a:fillRect/>
          </a:stretch>
        </p:blipFill>
        <p:spPr bwMode="auto">
          <a:xfrm>
            <a:off x="4793104" y="5255608"/>
            <a:ext cx="2586481" cy="1550939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29" name="Picture 5" descr="C:\Users\Niggadyai\Desktop\апка\familysunset.jpg"/>
          <p:cNvPicPr>
            <a:picLocks noChangeAspect="1" noChangeArrowheads="1"/>
          </p:cNvPicPr>
          <p:nvPr/>
        </p:nvPicPr>
        <p:blipFill>
          <a:blip r:embed="rId8" cstate="print">
            <a:extLst/>
          </a:blip>
          <a:srcRect/>
          <a:stretch>
            <a:fillRect/>
          </a:stretch>
        </p:blipFill>
        <p:spPr bwMode="auto">
          <a:xfrm>
            <a:off x="6434474" y="4221088"/>
            <a:ext cx="1567217" cy="1175147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8" name="Picture 14" descr="C:\Users\Niggadyai\Desktop\апка\bc04f87b1442e82a9d7828879f80552b_M.jpg"/>
          <p:cNvPicPr>
            <a:picLocks noChangeAspect="1" noChangeArrowheads="1"/>
          </p:cNvPicPr>
          <p:nvPr/>
        </p:nvPicPr>
        <p:blipFill>
          <a:blip r:embed="rId9" cstate="print">
            <a:extLst/>
          </a:blip>
          <a:srcRect/>
          <a:stretch>
            <a:fillRect/>
          </a:stretch>
        </p:blipFill>
        <p:spPr bwMode="auto">
          <a:xfrm>
            <a:off x="7379585" y="3305072"/>
            <a:ext cx="1666941" cy="1252587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27" name="Picture 3" descr="C:\Users\Niggadyai\Desktop\апка\444.jpg"/>
          <p:cNvPicPr>
            <a:picLocks noChangeAspect="1" noChangeArrowheads="1"/>
          </p:cNvPicPr>
          <p:nvPr/>
        </p:nvPicPr>
        <p:blipFill>
          <a:blip r:embed="rId10" cstate="print">
            <a:extLst/>
          </a:blip>
          <a:srcRect/>
          <a:stretch>
            <a:fillRect/>
          </a:stretch>
        </p:blipFill>
        <p:spPr bwMode="auto">
          <a:xfrm>
            <a:off x="7237280" y="2215416"/>
            <a:ext cx="1836204" cy="122413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26" name="Picture 2" descr="C:\Users\Niggadyai\Desktop\апка\invest.jpg"/>
          <p:cNvPicPr>
            <a:picLocks noChangeAspect="1" noChangeArrowheads="1"/>
          </p:cNvPicPr>
          <p:nvPr/>
        </p:nvPicPr>
        <p:blipFill>
          <a:blip r:embed="rId11" cstate="print">
            <a:extLst/>
          </a:blip>
          <a:srcRect/>
          <a:stretch>
            <a:fillRect/>
          </a:stretch>
        </p:blipFill>
        <p:spPr bwMode="auto">
          <a:xfrm>
            <a:off x="6948264" y="1137596"/>
            <a:ext cx="1740638" cy="1306785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1" name="Picture 7" descr="C:\Users\Niggadyai\Desktop\апка\ihk5lqnflg4m-wgymgxdba.jpg"/>
          <p:cNvPicPr>
            <a:picLocks noChangeAspect="1" noChangeArrowheads="1"/>
          </p:cNvPicPr>
          <p:nvPr/>
        </p:nvPicPr>
        <p:blipFill>
          <a:blip r:embed="rId12" cstate="print">
            <a:extLst/>
          </a:blip>
          <a:srcRect/>
          <a:stretch>
            <a:fillRect/>
          </a:stretch>
        </p:blipFill>
        <p:spPr bwMode="auto">
          <a:xfrm>
            <a:off x="5382708" y="1357612"/>
            <a:ext cx="1854572" cy="1232260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4" name="Picture 10" descr="C:\Users\Niggadyai\Desktop\апка\18630.jpg"/>
          <p:cNvPicPr>
            <a:picLocks noChangeAspect="1" noChangeArrowheads="1"/>
          </p:cNvPicPr>
          <p:nvPr/>
        </p:nvPicPr>
        <p:blipFill>
          <a:blip r:embed="rId13" cstate="print">
            <a:extLst/>
          </a:blip>
          <a:srcRect/>
          <a:stretch>
            <a:fillRect/>
          </a:stretch>
        </p:blipFill>
        <p:spPr bwMode="auto">
          <a:xfrm>
            <a:off x="47915" y="3343535"/>
            <a:ext cx="1664924" cy="141617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41" name="Picture 17" descr="C:\Users\Niggadyai\Desktop\апка\o-3202.jpg"/>
          <p:cNvPicPr>
            <a:picLocks noChangeAspect="1" noChangeArrowheads="1"/>
          </p:cNvPicPr>
          <p:nvPr/>
        </p:nvPicPr>
        <p:blipFill>
          <a:blip r:embed="rId14" cstate="print">
            <a:extLst/>
          </a:blip>
          <a:srcRect/>
          <a:stretch>
            <a:fillRect/>
          </a:stretch>
        </p:blipFill>
        <p:spPr bwMode="auto">
          <a:xfrm>
            <a:off x="505450" y="1154802"/>
            <a:ext cx="2020532" cy="1346495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0" name="Picture 6" descr="C:\Users\Niggadyai\Desktop\апка\igri-11315908938_c093aa80e4e03f80297f0059abe4c2a7.jpg"/>
          <p:cNvPicPr>
            <a:picLocks noChangeAspect="1" noChangeArrowheads="1"/>
          </p:cNvPicPr>
          <p:nvPr/>
        </p:nvPicPr>
        <p:blipFill>
          <a:blip r:embed="rId15" cstate="print">
            <a:extLst/>
          </a:blip>
          <a:srcRect/>
          <a:stretch>
            <a:fillRect/>
          </a:stretch>
        </p:blipFill>
        <p:spPr bwMode="auto">
          <a:xfrm>
            <a:off x="2137255" y="1463637"/>
            <a:ext cx="1720996" cy="114515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7" name="Picture 13" descr="C:\Users\Niggadyai\Desktop\апка\41d3588746b12c411059.jpg"/>
          <p:cNvPicPr>
            <a:picLocks noChangeAspect="1" noChangeArrowheads="1"/>
          </p:cNvPicPr>
          <p:nvPr/>
        </p:nvPicPr>
        <p:blipFill>
          <a:blip r:embed="rId16" cstate="print">
            <a:extLst/>
          </a:blip>
          <a:srcRect/>
          <a:stretch>
            <a:fillRect/>
          </a:stretch>
        </p:blipFill>
        <p:spPr bwMode="auto">
          <a:xfrm>
            <a:off x="3610374" y="1153882"/>
            <a:ext cx="1910603" cy="145491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2" name="Picture 8" descr="C:\Users\Niggadyai\Desktop\апка\kazahstandostupnoezhilie.jpg"/>
          <p:cNvPicPr>
            <a:picLocks noChangeAspect="1" noChangeArrowheads="1"/>
          </p:cNvPicPr>
          <p:nvPr/>
        </p:nvPicPr>
        <p:blipFill>
          <a:blip r:embed="rId17" cstate="print">
            <a:extLst/>
          </a:blip>
          <a:srcRect/>
          <a:stretch>
            <a:fillRect/>
          </a:stretch>
        </p:blipFill>
        <p:spPr bwMode="auto">
          <a:xfrm>
            <a:off x="4732599" y="4140967"/>
            <a:ext cx="1701875" cy="1496280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42" name="Picture 18" descr="C:\Users\Niggadyai\Desktop\апка\TASS_3967591-pic4_zoom-1000x1000-82418.jpg"/>
          <p:cNvPicPr>
            <a:picLocks noChangeAspect="1" noChangeArrowheads="1"/>
          </p:cNvPicPr>
          <p:nvPr/>
        </p:nvPicPr>
        <p:blipFill>
          <a:blip r:embed="rId18" cstate="print">
            <a:extLst/>
          </a:blip>
          <a:srcRect/>
          <a:stretch>
            <a:fillRect/>
          </a:stretch>
        </p:blipFill>
        <p:spPr bwMode="auto">
          <a:xfrm>
            <a:off x="2305745" y="5282046"/>
            <a:ext cx="2487358" cy="153260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35" name="Picture 11" descr="C:\Users\Niggadyai\Desktop\апка\congrat_04062013172528.jpg"/>
          <p:cNvPicPr>
            <a:picLocks noChangeAspect="1" noChangeArrowheads="1"/>
          </p:cNvPicPr>
          <p:nvPr/>
        </p:nvPicPr>
        <p:blipFill>
          <a:blip r:embed="rId19" cstate="print">
            <a:extLst/>
          </a:blip>
          <a:srcRect/>
          <a:stretch>
            <a:fillRect/>
          </a:stretch>
        </p:blipFill>
        <p:spPr bwMode="auto">
          <a:xfrm>
            <a:off x="179511" y="2225787"/>
            <a:ext cx="1957743" cy="120339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14" name="TextBox 13"/>
          <p:cNvSpPr txBox="1"/>
          <p:nvPr/>
        </p:nvSpPr>
        <p:spPr>
          <a:xfrm>
            <a:off x="1183578" y="2452872"/>
            <a:ext cx="6683512" cy="2485787"/>
          </a:xfrm>
          <a:prstGeom prst="roundRect">
            <a:avLst/>
          </a:prstGeom>
          <a:solidFill>
            <a:srgbClr val="D7DAC8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«Муниципальная </a:t>
            </a:r>
            <a:r>
              <a:rPr lang="ru-RU" sz="20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рограмма </a:t>
            </a: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–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документ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стратегического планирования,</a:t>
            </a:r>
            <a:r>
              <a:rPr lang="ru-RU" sz="2000" dirty="0"/>
              <a:t> содержащий комплекс планируемых мероприятий, </a:t>
            </a:r>
            <a:r>
              <a:rPr lang="ru-RU" sz="2000" dirty="0" smtClean="0"/>
              <a:t>взаимоувязанных </a:t>
            </a:r>
            <a:r>
              <a:rPr lang="ru-RU" sz="2000" dirty="0"/>
              <a:t>по задачам, срокам осуществления, исполнителям и ресурсам и обеспечивающих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наиболее эффективное достижение целей и решение задач </a:t>
            </a:r>
            <a:r>
              <a:rPr lang="ru-RU" sz="2000" dirty="0"/>
              <a:t>социально-экономического развития </a:t>
            </a:r>
            <a:r>
              <a:rPr lang="ru-RU" sz="2000" dirty="0" smtClean="0"/>
              <a:t>муниципального округа»</a:t>
            </a:r>
            <a:endParaRPr lang="ru-RU" sz="20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xtBox 10"/>
          <p:cNvSpPr txBox="1">
            <a:spLocks noChangeArrowheads="1"/>
          </p:cNvSpPr>
          <p:nvPr/>
        </p:nvSpPr>
        <p:spPr bwMode="auto">
          <a:xfrm>
            <a:off x="1907704" y="188640"/>
            <a:ext cx="684076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Муниципальные </a:t>
            </a:r>
            <a:r>
              <a:rPr lang="ru-RU" sz="20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программы </a:t>
            </a:r>
            <a:r>
              <a:rPr lang="ru-RU" sz="2000" b="1" dirty="0" err="1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муниципального округа </a:t>
            </a:r>
            <a:endParaRPr lang="ru-RU" sz="2000" b="1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244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8" name="TextBox 10"/>
          <p:cNvSpPr txBox="1">
            <a:spLocks noChangeArrowheads="1"/>
          </p:cNvSpPr>
          <p:nvPr/>
        </p:nvSpPr>
        <p:spPr bwMode="auto">
          <a:xfrm>
            <a:off x="323528" y="260648"/>
            <a:ext cx="8640960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	Ра</a:t>
            </a:r>
            <a:r>
              <a:rPr lang="ru-RU" sz="28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сход</a:t>
            </a: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ы </a:t>
            </a:r>
            <a:r>
              <a:rPr lang="ru-RU" sz="28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на муниципальные </a:t>
            </a: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программы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                    </a:t>
            </a:r>
            <a:r>
              <a:rPr lang="ru-RU" sz="2000" b="1" dirty="0" err="1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sz="20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 муниципального округа </a:t>
            </a:r>
            <a:endParaRPr lang="ru-RU" sz="2000" b="1" dirty="0" smtClean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на </a:t>
            </a:r>
            <a:r>
              <a:rPr lang="ru-RU" sz="2800" b="1" dirty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2022 год</a:t>
            </a:r>
          </a:p>
        </p:txBody>
      </p:sp>
      <p:graphicFrame>
        <p:nvGraphicFramePr>
          <p:cNvPr id="3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4427696"/>
              </p:ext>
            </p:extLst>
          </p:nvPr>
        </p:nvGraphicFramePr>
        <p:xfrm>
          <a:off x="900113" y="1700213"/>
          <a:ext cx="6740525" cy="4852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9" name="Лист" r:id="rId4" imgW="8943908" imgH="3305102" progId="Excel.Sheet.8">
                  <p:embed/>
                </p:oleObj>
              </mc:Choice>
              <mc:Fallback>
                <p:oleObj name="Лист" r:id="rId4" imgW="8943908" imgH="3305102" progId="Excel.Sheet.8">
                  <p:embed/>
                  <p:pic>
                    <p:nvPicPr>
                      <p:cNvPr id="0" name="Диаграмма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0113" y="1700213"/>
                        <a:ext cx="6740525" cy="48529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10"/>
          <p:cNvSpPr txBox="1">
            <a:spLocks noChangeArrowheads="1"/>
          </p:cNvSpPr>
          <p:nvPr/>
        </p:nvSpPr>
        <p:spPr bwMode="auto">
          <a:xfrm>
            <a:off x="726415" y="1978702"/>
            <a:ext cx="352839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 smtClean="0">
                <a:latin typeface="Calibri" pitchFamily="34" charset="0"/>
                <a:ea typeface="Tahoma" pitchFamily="34" charset="0"/>
                <a:cs typeface="Arial" pitchFamily="34" charset="0"/>
              </a:rPr>
              <a:t>Управление муниципальным имуществом</a:t>
            </a:r>
            <a:endParaRPr lang="ru-RU" sz="1300" dirty="0"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367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Выгнутая вправо стрелка 32"/>
          <p:cNvSpPr/>
          <p:nvPr/>
        </p:nvSpPr>
        <p:spPr>
          <a:xfrm rot="6842614">
            <a:off x="1582852" y="3886846"/>
            <a:ext cx="362167" cy="2856099"/>
          </a:xfrm>
          <a:prstGeom prst="curvedLeftArrow">
            <a:avLst>
              <a:gd name="adj1" fmla="val 51913"/>
              <a:gd name="adj2" fmla="val 93636"/>
              <a:gd name="adj3" fmla="val 57688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Выгнутая вправо стрелка 2"/>
          <p:cNvSpPr/>
          <p:nvPr/>
        </p:nvSpPr>
        <p:spPr>
          <a:xfrm rot="4798849" flipH="1">
            <a:off x="2542629" y="2344414"/>
            <a:ext cx="531996" cy="1709653"/>
          </a:xfrm>
          <a:prstGeom prst="curvedLeftArrow">
            <a:avLst>
              <a:gd name="adj1" fmla="val 17558"/>
              <a:gd name="adj2" fmla="val 29526"/>
              <a:gd name="adj3" fmla="val 8012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246271" y="1401144"/>
            <a:ext cx="2721364" cy="307777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школьное образование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049364" y="922090"/>
            <a:ext cx="6037365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chemeClr val="accent4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35554" y="1772816"/>
            <a:ext cx="2882105" cy="198064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убвенции на обеспечение государственных гарантий реализации прав на получение общедоступного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есплатного дошкольного образования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в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2 детских садах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:</a:t>
            </a:r>
          </a:p>
          <a:p>
            <a:pPr algn="ctr"/>
            <a:endParaRPr lang="ru-RU" sz="1200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работная плата –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4,0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млн руб.</a:t>
            </a:r>
          </a:p>
          <a:p>
            <a:pPr marL="171450" indent="-171450">
              <a:buFontTx/>
              <a:buChar char="-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очие расходы–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0,6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 руб.</a:t>
            </a:r>
          </a:p>
          <a:p>
            <a:pPr marL="171450" indent="-171450">
              <a:buFontTx/>
              <a:buChar char="-"/>
            </a:pPr>
            <a:endParaRPr lang="ru-RU" sz="1200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35554" y="4089778"/>
            <a:ext cx="2932622" cy="307777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щее образование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246271" y="4486187"/>
            <a:ext cx="2921905" cy="19355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убвенции на обеспечение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ав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енных гарантий реализации прав на получение общедоступного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есплатного общего образования</a:t>
            </a:r>
            <a:endParaRPr lang="en-US" sz="1200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в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3 муниципальных школах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:</a:t>
            </a:r>
          </a:p>
          <a:p>
            <a:pPr algn="ctr"/>
            <a:endParaRPr lang="ru-RU" sz="1200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работная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ата –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46,3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уб.</a:t>
            </a:r>
          </a:p>
          <a:p>
            <a:pPr marL="171450" indent="-171450">
              <a:buFontTx/>
              <a:buChar char="-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ебники, прочие расходы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,8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 руб.</a:t>
            </a:r>
          </a:p>
          <a:p>
            <a:pPr algn="ctr"/>
            <a:endParaRPr lang="ru-RU" sz="1200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9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614077"/>
              </p:ext>
            </p:extLst>
          </p:nvPr>
        </p:nvGraphicFramePr>
        <p:xfrm>
          <a:off x="107501" y="3034988"/>
          <a:ext cx="2863309" cy="2015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5" name="TextBox 1"/>
          <p:cNvSpPr txBox="1"/>
          <p:nvPr/>
        </p:nvSpPr>
        <p:spPr>
          <a:xfrm>
            <a:off x="371222" y="2670806"/>
            <a:ext cx="2109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чебники</a:t>
            </a:r>
            <a:r>
              <a:rPr lang="ru-RU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, игры, игрушки</a:t>
            </a:r>
          </a:p>
          <a:p>
            <a:pPr algn="ctr"/>
            <a:r>
              <a:rPr lang="ru-RU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5,4</a:t>
            </a:r>
            <a:r>
              <a:rPr lang="ru-RU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млн рублей</a:t>
            </a:r>
            <a:endParaRPr lang="ru-RU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753752" y="6136987"/>
            <a:ext cx="2016224" cy="28474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51,1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753752" y="3682685"/>
            <a:ext cx="2016224" cy="28474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54,6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4" name="Стрелка вправо 33"/>
          <p:cNvSpPr/>
          <p:nvPr/>
        </p:nvSpPr>
        <p:spPr>
          <a:xfrm rot="5400000" flipV="1">
            <a:off x="5069057" y="4540849"/>
            <a:ext cx="211331" cy="125637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38914" name="Picture 2" descr="http://xn--80aafka8aijbcicvsig8o.xn--p1ai/upload/iblock/050/0505565685fae4064db33848c184ff9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127" y="4349643"/>
            <a:ext cx="2532178" cy="183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458751" y="188640"/>
            <a:ext cx="849694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Муниципальная программа «Развитие системы образования </a:t>
            </a:r>
            <a:r>
              <a:rPr lang="ru-RU" b="1" dirty="0" err="1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муниципального округа» на 2022 – 2026 г.</a:t>
            </a:r>
          </a:p>
        </p:txBody>
      </p:sp>
      <p:pic>
        <p:nvPicPr>
          <p:cNvPr id="41988" name="Picture 4" descr="http://stronglady.net/wp-content/uploads/2013/12/dityachij-sado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722" y="1781327"/>
            <a:ext cx="2719420" cy="2043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3081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/>
          <p:cNvSpPr txBox="1"/>
          <p:nvPr/>
        </p:nvSpPr>
        <p:spPr>
          <a:xfrm>
            <a:off x="2058245" y="945771"/>
            <a:ext cx="6192836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6BB76D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rgbClr val="6BB76D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689176" y="1358533"/>
            <a:ext cx="4179098" cy="307777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полнительное  образование детей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489159" y="1773790"/>
            <a:ext cx="2370967" cy="7191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БУ ДО «ЛРЦДОИР»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1,5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лн. рублей</a:t>
            </a:r>
          </a:p>
        </p:txBody>
      </p:sp>
      <p:pic>
        <p:nvPicPr>
          <p:cNvPr id="40" name="Picture 4" descr="C:\Users\zybenova_cb\Desktop\k05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0072" y="1796763"/>
            <a:ext cx="1332203" cy="1056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7076965" y="1358533"/>
            <a:ext cx="1538415" cy="36721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Художественное направлени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69289" y="1253548"/>
            <a:ext cx="1538416" cy="685025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Физкультурно-спортивное направлени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55455" y="3130458"/>
            <a:ext cx="1910443" cy="566118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Социально-педагогическое направлени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682257" y="2945932"/>
            <a:ext cx="1910443" cy="565258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err="1" smtClean="0">
                <a:solidFill>
                  <a:schemeClr val="bg1"/>
                </a:solidFill>
              </a:rPr>
              <a:t>Туристко</a:t>
            </a:r>
            <a:r>
              <a:rPr lang="ru-RU" sz="1400" dirty="0" smtClean="0">
                <a:solidFill>
                  <a:schemeClr val="bg1"/>
                </a:solidFill>
              </a:rPr>
              <a:t>-краеведческое направлени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>
            <a:spLocks noChangeArrowheads="1"/>
          </p:cNvSpPr>
          <p:nvPr/>
        </p:nvSpPr>
        <p:spPr bwMode="auto">
          <a:xfrm>
            <a:off x="539552" y="188640"/>
            <a:ext cx="849694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Муниципальная программа «Развитие системы образования Лихославльского района» на 2022 – 2026 годы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29494" y="5203347"/>
            <a:ext cx="2349399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Организация отдыха, оздоровление детей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19681" y="2885780"/>
            <a:ext cx="1538416" cy="457261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Естественно-научно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2580448" y="3130458"/>
            <a:ext cx="1538416" cy="532709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Техническое направление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39938" name="Picture 2" descr="http://cdn01.ru/files/users/images/81/ec/81ec5726aa80d5bc129510d61b77f8c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64" y="2037562"/>
            <a:ext cx="1268776" cy="807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0" name="Picture 4" descr="http://mir46.ru/IMGS/cf3ad79bf67b83c6af5b07536d15ddb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169" y="3436751"/>
            <a:ext cx="1521076" cy="1100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4" name="Picture 8" descr="http://image.etov.ua/storage/640x640/1/d/9/2/1d922f3d7756e3cd5366ec8bebdfb61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468" y="3811304"/>
            <a:ext cx="1760287" cy="1229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6" name="Picture 10" descr="http://luchshegor.net.ua/assets/images/balka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334" y="3696576"/>
            <a:ext cx="1463002" cy="1097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трелка вправо 1"/>
          <p:cNvSpPr/>
          <p:nvPr/>
        </p:nvSpPr>
        <p:spPr>
          <a:xfrm rot="11847727">
            <a:off x="2138665" y="1918624"/>
            <a:ext cx="730696" cy="1695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 rot="9210895">
            <a:off x="2395154" y="2548902"/>
            <a:ext cx="767505" cy="1749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 вправо 44"/>
          <p:cNvSpPr/>
          <p:nvPr/>
        </p:nvSpPr>
        <p:spPr>
          <a:xfrm rot="1972997">
            <a:off x="6041041" y="2635159"/>
            <a:ext cx="596966" cy="1559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право 45"/>
          <p:cNvSpPr/>
          <p:nvPr/>
        </p:nvSpPr>
        <p:spPr>
          <a:xfrm rot="20263330">
            <a:off x="6193215" y="1853248"/>
            <a:ext cx="733566" cy="1811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трелка вправо 46"/>
          <p:cNvSpPr/>
          <p:nvPr/>
        </p:nvSpPr>
        <p:spPr>
          <a:xfrm rot="6725050">
            <a:off x="3722920" y="2711274"/>
            <a:ext cx="634163" cy="1836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трелка вправо 47"/>
          <p:cNvSpPr/>
          <p:nvPr/>
        </p:nvSpPr>
        <p:spPr>
          <a:xfrm rot="4437125">
            <a:off x="4934551" y="2714432"/>
            <a:ext cx="586561" cy="1667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948" name="Picture 12" descr="http://rags-vrn.ru/images/stories/PA010047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725" y="5613548"/>
            <a:ext cx="1461126" cy="104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0" name="Picture 14" descr="http://kak7.com/wp-content/uploads/2013/10/kak-ozdlager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070" y="5624236"/>
            <a:ext cx="1801572" cy="103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0" name="Picture 2" descr="http://gctt.ucoz.kz/IMG_6026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479722" y="3753166"/>
            <a:ext cx="1717287" cy="1287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649320" y="6142455"/>
            <a:ext cx="1830402" cy="29696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2 ,7 млн.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val="853512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трелка вправо 36"/>
          <p:cNvSpPr/>
          <p:nvPr/>
        </p:nvSpPr>
        <p:spPr>
          <a:xfrm rot="5400000" flipV="1">
            <a:off x="4349127" y="4990683"/>
            <a:ext cx="211331" cy="125637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 rot="5400000" flipV="1">
            <a:off x="3088993" y="3476540"/>
            <a:ext cx="211331" cy="125637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23728" y="908720"/>
            <a:ext cx="6984776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6BB76D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rgbClr val="6BB76D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701224" y="1422558"/>
            <a:ext cx="2098703" cy="12432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2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Выплата 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компенсации по </a:t>
            </a:r>
            <a:r>
              <a:rPr lang="ru-RU" sz="12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о оплате жилых помещений, отопления и освещения педагогическим 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работникам, живущим и работающим на селе - </a:t>
            </a:r>
            <a:r>
              <a:rPr lang="ru-RU" sz="1200" b="1" dirty="0" smtClean="0">
                <a:solidFill>
                  <a:srgbClr val="6BB76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157 человек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200" dirty="0">
              <a:solidFill>
                <a:srgbClr val="E88651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19643" y="1396286"/>
            <a:ext cx="2557047" cy="104204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just"/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Единовременная выплата при рождении ребенка на территории </a:t>
            </a:r>
            <a:r>
              <a:rPr lang="ru-RU" sz="1200" dirty="0" err="1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Лихославльского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района</a:t>
            </a:r>
            <a:endParaRPr lang="ru-RU" sz="1200" b="1" dirty="0">
              <a:solidFill>
                <a:srgbClr val="6BB76D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251519" y="3645024"/>
            <a:ext cx="2596981" cy="106490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just"/>
            <a:r>
              <a:rPr lang="ru-RU" sz="12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Обеспечение жилыми помещениями детей- сирот, детей, оставшихся без попечения родителей, лиц из числа детей- сирот и детей, оставшихся без попечения 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родителей–6</a:t>
            </a:r>
            <a:r>
              <a:rPr lang="ru-RU" sz="1200" b="1" dirty="0" smtClean="0">
                <a:solidFill>
                  <a:srgbClr val="6BB76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детей-сирот</a:t>
            </a:r>
            <a:endParaRPr lang="ru-RU" sz="1200" b="1" dirty="0">
              <a:solidFill>
                <a:srgbClr val="6BB76D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194658" y="1374774"/>
            <a:ext cx="3096344" cy="52322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циальная поддержка населения</a:t>
            </a:r>
            <a:endParaRPr lang="ru-RU" sz="14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792597" y="2665808"/>
            <a:ext cx="2016224" cy="28803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2,7 </a:t>
            </a:r>
            <a:r>
              <a:rPr lang="ru-RU" sz="1400" dirty="0">
                <a:solidFill>
                  <a:prstClr val="white"/>
                </a:solidFill>
              </a:rPr>
              <a:t>млн руб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21930" y="4659805"/>
            <a:ext cx="2016224" cy="28803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5,8 млн руб</a:t>
            </a:r>
            <a:r>
              <a:rPr lang="ru-RU" sz="1400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28" name="TextBox 10"/>
          <p:cNvSpPr txBox="1">
            <a:spLocks noChangeArrowheads="1"/>
          </p:cNvSpPr>
          <p:nvPr/>
        </p:nvSpPr>
        <p:spPr bwMode="auto">
          <a:xfrm>
            <a:off x="-180528" y="244550"/>
            <a:ext cx="90375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Муниципальная программа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Лихославльского муниципального округа </a:t>
            </a:r>
            <a:endParaRPr lang="ru-RU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algn="r"/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«Социальная поддержка населения»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на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2022-2026 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годы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738845" y="3933056"/>
            <a:ext cx="2123728" cy="6198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2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Выплата пенсии муниципальным </a:t>
            </a:r>
            <a:r>
              <a:rPr lang="ru-RU" sz="12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лужащим– </a:t>
            </a:r>
            <a:r>
              <a:rPr lang="ru-RU" sz="1200" b="1" dirty="0" smtClean="0">
                <a:solidFill>
                  <a:srgbClr val="6BB76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16 человек</a:t>
            </a:r>
            <a:endParaRPr lang="ru-RU" sz="1200" b="1" dirty="0">
              <a:solidFill>
                <a:srgbClr val="6BB76D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846349" y="4515789"/>
            <a:ext cx="2016224" cy="28803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7 млн </a:t>
            </a:r>
            <a:r>
              <a:rPr lang="ru-RU" sz="1400" dirty="0">
                <a:solidFill>
                  <a:prstClr val="white"/>
                </a:solidFill>
              </a:rPr>
              <a:t>руб.</a:t>
            </a:r>
          </a:p>
        </p:txBody>
      </p:sp>
      <p:pic>
        <p:nvPicPr>
          <p:cNvPr id="40962" name="Picture 2" descr="http://bezformata.ru/content/Images/000/005/332/image533256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830" y="2071343"/>
            <a:ext cx="1964130" cy="1468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4" name="Picture 4" descr="http://komionline.ru/media/images/2013/06/07/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086" y="2071343"/>
            <a:ext cx="2241930" cy="149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6" name="Picture 6" descr="http://advokats.me/img/content_img/Statiy747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35" y="4947837"/>
            <a:ext cx="2857500" cy="191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8" name="Picture 8" descr="http://inetcredit.spb.ru/wp-content/uploads/2012/04/kredit-na-obrazovani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477" y="3861048"/>
            <a:ext cx="3161970" cy="1934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0" name="Picture 10" descr="http://ic.pics.livejournal.com/vera_noni/52431711/7973/7973_30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311" y="4904497"/>
            <a:ext cx="2496262" cy="168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395536" y="2377776"/>
            <a:ext cx="2016224" cy="28803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6 млн руб</a:t>
            </a:r>
            <a:r>
              <a:rPr lang="ru-RU" sz="14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515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1979713" y="929279"/>
            <a:ext cx="6047528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chemeClr val="accent4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4768" y="1299952"/>
            <a:ext cx="2573759" cy="27699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4768" y="3401391"/>
            <a:ext cx="2880251" cy="27699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endParaRPr lang="ru-RU" sz="12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796137" y="1474823"/>
            <a:ext cx="3059832" cy="27699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27584" y="2142861"/>
            <a:ext cx="2016224" cy="212703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45,0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. </a:t>
            </a:r>
            <a:r>
              <a:rPr lang="ru-RU" sz="1400" dirty="0" err="1" smtClean="0">
                <a:solidFill>
                  <a:schemeClr val="bg1"/>
                </a:solidFill>
              </a:rPr>
              <a:t>руб</a:t>
            </a:r>
            <a:r>
              <a:rPr lang="en-US" sz="1400" dirty="0">
                <a:solidFill>
                  <a:schemeClr val="bg1"/>
                </a:solidFill>
              </a:rPr>
              <a:t>.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421051" y="2259130"/>
            <a:ext cx="2016224" cy="24268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6,9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. </a:t>
            </a:r>
            <a:r>
              <a:rPr lang="ru-RU" sz="1400" dirty="0" err="1">
                <a:solidFill>
                  <a:schemeClr val="bg1"/>
                </a:solidFill>
              </a:rPr>
              <a:t>руб</a:t>
            </a:r>
            <a:r>
              <a:rPr lang="en-US" sz="1400" dirty="0" smtClean="0">
                <a:solidFill>
                  <a:schemeClr val="bg1"/>
                </a:solidFill>
              </a:rPr>
              <a:t>.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779913" y="4698204"/>
            <a:ext cx="2304256" cy="29390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3,3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3" name="TextBox 10"/>
          <p:cNvSpPr txBox="1">
            <a:spLocks noChangeArrowheads="1"/>
          </p:cNvSpPr>
          <p:nvPr/>
        </p:nvSpPr>
        <p:spPr bwMode="auto">
          <a:xfrm>
            <a:off x="1231175" y="116632"/>
            <a:ext cx="74166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Муниципальная программа «Культура </a:t>
            </a:r>
            <a:r>
              <a:rPr lang="ru-RU" b="1" dirty="0" err="1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муниципального округа»  на 2022-2026 годы</a:t>
            </a:r>
          </a:p>
        </p:txBody>
      </p:sp>
      <p:pic>
        <p:nvPicPr>
          <p:cNvPr id="43010" name="Picture 2" descr="http://go1.imgsmail.ru/imgpreview?key=2e85fcbf51a2412e&amp;mb=imgdb_preview_128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37" y="2423647"/>
            <a:ext cx="2327771" cy="1075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4" name="Picture 6" descr="http://2.bp.blogspot.com/-n9q-_-0Oqh8/URZe66o2cSI/AAAAAAAAAWM/GLLLpdNFDuM/s1600/3_kla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2564904"/>
            <a:ext cx="2726382" cy="107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6" name="Picture 8" descr="http://pozhproekt.ru/wp-content/uploads/2013/01/allbook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513" y="4603947"/>
            <a:ext cx="21717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8" name="Picture 10" descr="http://go2.imgsmail.ru/imgpreview?key=1a3ed375cc3077b9&amp;mb=imgdb_preview_118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237" y="1436323"/>
            <a:ext cx="1881631" cy="156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20" name="Picture 12" descr="http://go4.imgsmail.ru/imgpreview?key=10ab5e4f931c6e80&amp;mb=imgdb_preview_117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992690"/>
            <a:ext cx="2200275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http://www.cheboksary.ru/images/1412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632" y="4232556"/>
            <a:ext cx="1900387" cy="1425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22" name="Picture 14" descr="http://mitino.ru/files/5/c/5c73a7b59191d38ca8fc2f1438d7045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299" y="5317604"/>
            <a:ext cx="1858475" cy="1375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24" name="Picture 16" descr="http://art.votkinsk.ru/sites/all/themes/ninesixty/images/slaid-3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868" y="5080197"/>
            <a:ext cx="1648661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280769" y="1444303"/>
            <a:ext cx="2557047" cy="6165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рганизация досуга населения              (</a:t>
            </a:r>
            <a:r>
              <a:rPr lang="ru-RU" sz="12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ЦКиД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им.40-ия победы и           </a:t>
            </a:r>
            <a:r>
              <a:rPr lang="ru-RU" sz="1200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сельские филиалы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395166" y="3717032"/>
            <a:ext cx="2557047" cy="5394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омплектование библиотечных</a:t>
            </a:r>
          </a:p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ондов, подписка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613264" y="3860220"/>
            <a:ext cx="2557047" cy="6958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Художественное образование детей, развитие у них творческих способностей (</a:t>
            </a:r>
            <a:r>
              <a:rPr lang="ru-RU" sz="1200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МАУ ДОД </a:t>
            </a:r>
            <a:r>
              <a:rPr lang="ru-RU" sz="1200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ДШИ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090763" y="1447712"/>
            <a:ext cx="2557047" cy="7467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рганизация библиотечного обслуживания (1 центральная районная библиотека и </a:t>
            </a:r>
            <a:r>
              <a:rPr lang="ru-RU" sz="1200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сельские филиалы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23292" y="3636062"/>
            <a:ext cx="3224807" cy="4789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хранение и развитие традиционного народного творчеств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665577" y="4310921"/>
            <a:ext cx="2190392" cy="24268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0,5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. </a:t>
            </a:r>
            <a:r>
              <a:rPr lang="ru-RU" sz="1400" dirty="0" err="1">
                <a:solidFill>
                  <a:schemeClr val="bg1"/>
                </a:solidFill>
              </a:rPr>
              <a:t>руб</a:t>
            </a:r>
            <a:r>
              <a:rPr lang="en-US" sz="1400" dirty="0" smtClean="0">
                <a:solidFill>
                  <a:schemeClr val="bg1"/>
                </a:solidFill>
              </a:rPr>
              <a:t>.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90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634639" y="2362683"/>
            <a:ext cx="2797833" cy="93871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детско-юношеского спорта в системе муниципальных учреждений </a:t>
            </a:r>
            <a:r>
              <a:rPr lang="ru-RU" sz="11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портивной </a:t>
            </a:r>
            <a:r>
              <a:rPr lang="ru-RU" sz="11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правленности  </a:t>
            </a:r>
            <a:r>
              <a:rPr lang="ru-RU" sz="11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(МБУ Спортивная школа, стадион «Салют»)</a:t>
            </a:r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850732" y="188640"/>
            <a:ext cx="81009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Муниципальная программа «Физическая культура и спорт </a:t>
            </a:r>
            <a:r>
              <a:rPr lang="ru-RU" b="1" dirty="0" err="1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Лихославльского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муниципального округа»  на 2022-2026 год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38616" y="908720"/>
            <a:ext cx="5976665" cy="52322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Цель: </a:t>
            </a:r>
            <a:r>
              <a:rPr lang="ru-RU" sz="14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физической культуры </a:t>
            </a:r>
            <a:r>
              <a:rPr lang="ru-RU" sz="14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4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порта на территории</a:t>
            </a:r>
          </a:p>
          <a:p>
            <a:pPr>
              <a:defRPr/>
            </a:pPr>
            <a:r>
              <a:rPr lang="ru-RU" sz="14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4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муниципального округа </a:t>
            </a:r>
            <a:endParaRPr lang="ru-RU" sz="14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75657" y="1700808"/>
            <a:ext cx="6336703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6BB76D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rgbClr val="6BB76D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00752" y="2386247"/>
            <a:ext cx="2448272" cy="769441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инфраструктуры массового спорта, укрепление материально-технической базы</a:t>
            </a:r>
            <a:endParaRPr lang="ru-RU" sz="11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3792" y="4749282"/>
            <a:ext cx="2599526" cy="3518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defPPr>
              <a:defRPr lang="ru-RU"/>
            </a:defPPr>
            <a:lvl1pPr>
              <a:defRPr sz="105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</a:rPr>
              <a:t>МБУ Стадион «САЛЮТ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7392" y="3631813"/>
            <a:ext cx="2952328" cy="26161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ржание учреждени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716634" y="927884"/>
            <a:ext cx="1031829" cy="70091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</a:rPr>
              <a:t>15,9</a:t>
            </a:r>
            <a:endParaRPr lang="ru-RU" sz="1400" b="1" dirty="0">
              <a:solidFill>
                <a:prstClr val="white"/>
              </a:solidFill>
            </a:endParaRPr>
          </a:p>
          <a:p>
            <a:pPr algn="ctr"/>
            <a:r>
              <a:rPr lang="ru-RU" sz="1400" b="1" dirty="0">
                <a:solidFill>
                  <a:prstClr val="white"/>
                </a:solidFill>
              </a:rPr>
              <a:t> млн руб. </a:t>
            </a:r>
            <a:endParaRPr lang="ru-RU" sz="1400" b="1" dirty="0" smtClean="0">
              <a:solidFill>
                <a:prstClr val="white"/>
              </a:solidFill>
            </a:endParaRPr>
          </a:p>
          <a:p>
            <a:pPr algn="ctr"/>
            <a:r>
              <a:rPr lang="ru-RU" sz="1400" b="1" dirty="0" smtClean="0">
                <a:solidFill>
                  <a:prstClr val="white"/>
                </a:solidFill>
              </a:rPr>
              <a:t>(2,3% </a:t>
            </a:r>
            <a:r>
              <a:rPr lang="ru-RU" sz="1400" b="1" dirty="0">
                <a:solidFill>
                  <a:prstClr val="white"/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226672" y="4501089"/>
            <a:ext cx="1613766" cy="21602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8,9 </a:t>
            </a:r>
            <a:r>
              <a:rPr lang="ru-RU" sz="1400" dirty="0">
                <a:solidFill>
                  <a:prstClr val="white"/>
                </a:solidFill>
              </a:rPr>
              <a:t>млн руб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318004" y="3248918"/>
            <a:ext cx="1613767" cy="310679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08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ru-RU" sz="1400" dirty="0" smtClean="0">
                <a:solidFill>
                  <a:prstClr val="white"/>
                </a:solidFill>
              </a:rPr>
              <a:t>млн </a:t>
            </a:r>
            <a:r>
              <a:rPr lang="ru-RU" sz="1400" dirty="0">
                <a:solidFill>
                  <a:prstClr val="white"/>
                </a:solidFill>
              </a:rPr>
              <a:t>руб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440556" y="3677446"/>
            <a:ext cx="2379916" cy="1107996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массового спорта  и физкультурно-оздоровительного движения среди всех возрастных групп и категорий населения </a:t>
            </a:r>
            <a:r>
              <a:rPr lang="ru-RU" sz="1100" b="1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1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округа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968792" y="4891428"/>
            <a:ext cx="1495687" cy="209695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7 млн </a:t>
            </a:r>
            <a:r>
              <a:rPr lang="ru-RU" sz="1400" dirty="0">
                <a:solidFill>
                  <a:prstClr val="white"/>
                </a:solidFill>
              </a:rPr>
              <a:t>руб.</a:t>
            </a:r>
          </a:p>
        </p:txBody>
      </p:sp>
      <p:pic>
        <p:nvPicPr>
          <p:cNvPr id="39938" name="Picture 2" descr="http://irkutsk.ru/uploads/images/00/02/97/2014/09/17/f534f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 t="8019"/>
          <a:stretch/>
        </p:blipFill>
        <p:spPr bwMode="auto">
          <a:xfrm>
            <a:off x="6372200" y="5145142"/>
            <a:ext cx="2584985" cy="156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4" name="Picture 2" descr="http://yutrk.tv/yutrk/website/images/images_from_users/news/id967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201" y="3789040"/>
            <a:ext cx="2429991" cy="292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 descr="http://www.motovelosport.ru/articles/2011_05_13_detskiyboks/images/0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78" y="5573012"/>
            <a:ext cx="1532084" cy="1136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http://newsprom.ru/i/n/683/188683/tn_188683_124f1894b6c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33" y="5559834"/>
            <a:ext cx="1582566" cy="114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93" y="3967679"/>
            <a:ext cx="2599525" cy="507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1267169" y="5145812"/>
            <a:ext cx="1573269" cy="216024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4,9 </a:t>
            </a:r>
            <a:r>
              <a:rPr lang="ru-RU" sz="1400" dirty="0">
                <a:solidFill>
                  <a:prstClr val="white"/>
                </a:solidFill>
              </a:rPr>
              <a:t>млн руб.</a:t>
            </a:r>
          </a:p>
        </p:txBody>
      </p:sp>
    </p:spTree>
    <p:extLst>
      <p:ext uri="{BB962C8B-B14F-4D97-AF65-F5344CB8AC3E}">
        <p14:creationId xmlns:p14="http://schemas.microsoft.com/office/powerpoint/2010/main" val="96537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2843808" y="1700808"/>
            <a:ext cx="4032448" cy="3888432"/>
          </a:xfrm>
          <a:prstGeom prst="ellipse">
            <a:avLst/>
          </a:prstGeom>
          <a:solidFill>
            <a:srgbClr val="D7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851920" y="2564904"/>
            <a:ext cx="2088232" cy="2088232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D7DAC8"/>
                </a:solidFill>
              </a:rPr>
              <a:t>ПРОЕКТ</a:t>
            </a:r>
          </a:p>
          <a:p>
            <a:pPr algn="ctr"/>
            <a:r>
              <a:rPr lang="ru-RU" sz="2000" b="1" dirty="0" smtClean="0">
                <a:solidFill>
                  <a:srgbClr val="D7DAC8"/>
                </a:solidFill>
              </a:rPr>
              <a:t>БЮДЖЕТА</a:t>
            </a:r>
          </a:p>
          <a:p>
            <a:pPr algn="ctr"/>
            <a:r>
              <a:rPr lang="ru-RU" sz="2000" b="1" dirty="0" smtClean="0">
                <a:solidFill>
                  <a:srgbClr val="D7DAC8"/>
                </a:solidFill>
              </a:rPr>
              <a:t>на 2022 год</a:t>
            </a:r>
            <a:endParaRPr lang="ru-RU" sz="2000" b="1" dirty="0">
              <a:solidFill>
                <a:srgbClr val="D7DAC8"/>
              </a:solidFill>
            </a:endParaRPr>
          </a:p>
        </p:txBody>
      </p:sp>
      <p:pic>
        <p:nvPicPr>
          <p:cNvPr id="10242" name="Picture 2" descr="C:\Documents and Settings\vlasenko_eo\Local Settings\Temporary Internet Files\Content.IE5\HS04DPHK\MC900239929[1].wm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lum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2864">
            <a:off x="391695" y="611893"/>
            <a:ext cx="3860091" cy="3026072"/>
          </a:xfrm>
          <a:prstGeom prst="rect">
            <a:avLst/>
          </a:prstGeom>
          <a:noFill/>
          <a:effectLst>
            <a:glow>
              <a:schemeClr val="accent1"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Documents and Settings\vlasenko_eo\Local Settings\Temporary Internet Files\Content.IE5\HS04DPHK\MC900239929[1].wm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lum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4972">
            <a:off x="5682219" y="937988"/>
            <a:ext cx="3320737" cy="2687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Documents and Settings\vlasenko_eo\Local Settings\Temporary Internet Files\Content.IE5\HS04DPHK\MC900239929[1].wm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lum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27156">
            <a:off x="638738" y="3688881"/>
            <a:ext cx="3503607" cy="2746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Documents and Settings\vlasenko_eo\Local Settings\Temporary Internet Files\Content.IE5\HS04DPHK\MC900239929[1].wm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lum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0878">
            <a:off x="5679748" y="3631197"/>
            <a:ext cx="3320737" cy="273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 rot="21256387">
            <a:off x="777067" y="1269395"/>
            <a:ext cx="28874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</a:rPr>
              <a:t>Указы Президента РФ                       «</a:t>
            </a:r>
            <a:r>
              <a:rPr lang="ru-RU" sz="1600" b="1" dirty="0">
                <a:solidFill>
                  <a:srgbClr val="FF0000"/>
                </a:solidFill>
              </a:rPr>
              <a:t>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18" name="Прямоугольник 17"/>
          <p:cNvSpPr/>
          <p:nvPr/>
        </p:nvSpPr>
        <p:spPr>
          <a:xfrm rot="705842">
            <a:off x="5991306" y="1476401"/>
            <a:ext cx="2612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рогноз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социально-экономического развития </a:t>
            </a:r>
            <a:r>
              <a:rPr lang="ru-RU" b="1" dirty="0" err="1" smtClean="0">
                <a:solidFill>
                  <a:schemeClr val="accent6">
                    <a:lumMod val="50000"/>
                  </a:schemeClr>
                </a:solidFill>
              </a:rPr>
              <a:t>Лихославльского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 муниципального округа 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 rot="21014653">
            <a:off x="974263" y="4019164"/>
            <a:ext cx="264060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600" b="1" dirty="0">
              <a:solidFill>
                <a:srgbClr val="0070C0"/>
              </a:solidFill>
            </a:endParaRPr>
          </a:p>
          <a:p>
            <a:pPr algn="ctr"/>
            <a:r>
              <a:rPr lang="ru-RU" b="1" dirty="0">
                <a:solidFill>
                  <a:srgbClr val="0033CC"/>
                </a:solidFill>
              </a:rPr>
              <a:t>Основные направления бюджетной и налоговой политики </a:t>
            </a:r>
            <a:r>
              <a:rPr lang="ru-RU" b="1" dirty="0" err="1" smtClean="0">
                <a:solidFill>
                  <a:srgbClr val="0033CC"/>
                </a:solidFill>
              </a:rPr>
              <a:t>Лихославльского</a:t>
            </a:r>
            <a:r>
              <a:rPr lang="ru-RU" b="1" dirty="0" smtClean="0">
                <a:solidFill>
                  <a:srgbClr val="0033CC"/>
                </a:solidFill>
              </a:rPr>
              <a:t> муниципального округа </a:t>
            </a:r>
            <a:endParaRPr lang="ru-RU" b="1" dirty="0">
              <a:solidFill>
                <a:srgbClr val="0033CC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 rot="437256">
            <a:off x="5964954" y="4309161"/>
            <a:ext cx="26126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Муниципальны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программы </a:t>
            </a:r>
            <a:r>
              <a:rPr lang="ru-RU" b="1" dirty="0" err="1" smtClean="0">
                <a:solidFill>
                  <a:schemeClr val="accent5">
                    <a:lumMod val="50000"/>
                  </a:schemeClr>
                </a:solidFill>
              </a:rPr>
              <a:t>Лихославльского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 муниципального округа </a:t>
            </a:r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835696" y="231248"/>
            <a:ext cx="7128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На чем основывается составление проекта бюджета?</a:t>
            </a:r>
            <a:endParaRPr lang="ru-RU" sz="2000" b="1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7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209622" y="2532868"/>
            <a:ext cx="3624427" cy="769441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оддержка общественно значимых молодежных инициатив и деятельности  детских   и  молодежных общественных объединений»</a:t>
            </a:r>
            <a:endParaRPr lang="ru-RU" sz="11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-75545" y="5249173"/>
            <a:ext cx="3909594" cy="26161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endParaRPr lang="ru-RU" sz="11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1879252" y="262388"/>
            <a:ext cx="704675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ctr"/>
            <a:r>
              <a:rPr lang="ru-RU" dirty="0">
                <a:solidFill>
                  <a:prstClr val="white"/>
                </a:solidFill>
              </a:rPr>
              <a:t>Муниципальная </a:t>
            </a:r>
            <a:r>
              <a:rPr lang="ru-RU" dirty="0" smtClean="0">
                <a:solidFill>
                  <a:prstClr val="white"/>
                </a:solidFill>
              </a:rPr>
              <a:t>программа </a:t>
            </a:r>
            <a:r>
              <a:rPr lang="ru-RU" dirty="0" err="1" smtClean="0">
                <a:solidFill>
                  <a:prstClr val="white"/>
                </a:solidFill>
              </a:rPr>
              <a:t>Лихославльского</a:t>
            </a:r>
            <a:r>
              <a:rPr lang="ru-RU" dirty="0" smtClean="0">
                <a:solidFill>
                  <a:prstClr val="white"/>
                </a:solidFill>
              </a:rPr>
              <a:t> округа «Молодежь </a:t>
            </a:r>
            <a:r>
              <a:rPr lang="ru-RU" dirty="0" err="1" smtClean="0">
                <a:solidFill>
                  <a:prstClr val="white"/>
                </a:solidFill>
              </a:rPr>
              <a:t>Лихославльского</a:t>
            </a:r>
            <a:r>
              <a:rPr lang="ru-RU" dirty="0" smtClean="0">
                <a:solidFill>
                  <a:prstClr val="white"/>
                </a:solidFill>
              </a:rPr>
              <a:t> муниципального округа» </a:t>
            </a:r>
            <a:r>
              <a:rPr lang="ru-RU" dirty="0">
                <a:solidFill>
                  <a:prstClr val="white"/>
                </a:solidFill>
              </a:rPr>
              <a:t>на </a:t>
            </a:r>
            <a:r>
              <a:rPr lang="ru-RU" dirty="0" smtClean="0">
                <a:solidFill>
                  <a:prstClr val="white"/>
                </a:solidFill>
              </a:rPr>
              <a:t>2022-2026 </a:t>
            </a:r>
            <a:r>
              <a:rPr lang="ru-RU" dirty="0">
                <a:solidFill>
                  <a:prstClr val="white"/>
                </a:solidFill>
              </a:rPr>
              <a:t>год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5059" y="1220432"/>
            <a:ext cx="5800467" cy="461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Цель: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здание условий для гражданского становления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, эффективной социализации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и самореализации молодых граждан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74" b="13862"/>
          <a:stretch/>
        </p:blipFill>
        <p:spPr>
          <a:xfrm>
            <a:off x="3834049" y="2532868"/>
            <a:ext cx="2085240" cy="1358164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Прямоугольник 23"/>
          <p:cNvSpPr/>
          <p:nvPr/>
        </p:nvSpPr>
        <p:spPr>
          <a:xfrm>
            <a:off x="6007315" y="3389924"/>
            <a:ext cx="2886420" cy="25967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Проведение мероприятий,  направленных на формирование позитивного отношения молодежи к военной службе </a:t>
            </a:r>
            <a:endParaRPr lang="ru-RU" sz="1100" dirty="0" smtClean="0">
              <a:solidFill>
                <a:srgbClr val="E88651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ведение военно-спортивных лагерей и  игр патриотической направленности </a:t>
            </a:r>
            <a:endParaRPr lang="ru-RU" sz="1100" dirty="0" smtClean="0">
              <a:solidFill>
                <a:srgbClr val="E88651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ведение  </a:t>
            </a: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мероприятий,  направленных   на духовно-нравственное воспитание </a:t>
            </a: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молодежи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оддержка    поисковой и исследовательской деятельности поисковых </a:t>
            </a: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отрядов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одействие органам местного самоуправления в благоустройстве воинских захоронений и мемориалов»</a:t>
            </a:r>
            <a:endParaRPr lang="ru-RU" sz="1100" dirty="0" smtClean="0">
              <a:solidFill>
                <a:srgbClr val="E88651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089839" y="1052736"/>
            <a:ext cx="1442601" cy="55101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>
                <a:solidFill>
                  <a:prstClr val="white"/>
                </a:solidFill>
              </a:rPr>
              <a:t>0,1</a:t>
            </a:r>
          </a:p>
          <a:p>
            <a:pPr algn="ctr"/>
            <a:r>
              <a:rPr lang="ru-RU" sz="1400" b="1" dirty="0">
                <a:solidFill>
                  <a:prstClr val="white"/>
                </a:solidFill>
              </a:rPr>
              <a:t> млн руб. </a:t>
            </a:r>
            <a:endParaRPr lang="ru-RU" sz="1400" b="1" dirty="0" smtClean="0">
              <a:solidFill>
                <a:prstClr val="white"/>
              </a:solidFill>
            </a:endParaRPr>
          </a:p>
          <a:p>
            <a:pPr algn="ctr"/>
            <a:r>
              <a:rPr lang="ru-RU" sz="1400" b="1" dirty="0" smtClean="0">
                <a:solidFill>
                  <a:prstClr val="white"/>
                </a:solidFill>
              </a:rPr>
              <a:t>(</a:t>
            </a:r>
            <a:r>
              <a:rPr lang="ru-RU" sz="1400" b="1" dirty="0">
                <a:solidFill>
                  <a:prstClr val="white"/>
                </a:solidFill>
              </a:rPr>
              <a:t>0,02% 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534050" y="6093296"/>
            <a:ext cx="1832951" cy="399533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09  млн </a:t>
            </a:r>
            <a:r>
              <a:rPr lang="ru-RU" sz="1400" dirty="0">
                <a:solidFill>
                  <a:prstClr val="white"/>
                </a:solidFill>
              </a:rPr>
              <a:t>руб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63688" y="1851632"/>
            <a:ext cx="5326151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6BB76D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 в 2022 году</a:t>
            </a:r>
            <a:endParaRPr lang="ru-RU" sz="1400" b="1" dirty="0">
              <a:solidFill>
                <a:srgbClr val="6BB76D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31916" y="2880994"/>
            <a:ext cx="2094094" cy="26161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defRPr/>
            </a:pPr>
            <a:endParaRPr lang="ru-RU" sz="11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34023" y="3469721"/>
            <a:ext cx="3375624" cy="16874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Организация  деятельности Молодежного Совета Лихославльского района</a:t>
            </a: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ведение   мероприятий в сфере развития </a:t>
            </a: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добровольчества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оощрение одаренных детей и талантливой </a:t>
            </a:r>
            <a:r>
              <a:rPr lang="ru-RU" sz="1100" dirty="0" smtClean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молодежи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100" dirty="0">
                <a:solidFill>
                  <a:srgbClr val="E88651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Организация участия представителей Лихославльского района в  региональных, всероссийских и международных  мероприятиях».</a:t>
            </a:r>
            <a:endParaRPr lang="ru-RU" sz="1100" dirty="0" smtClean="0">
              <a:solidFill>
                <a:srgbClr val="E88651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57739" y="5307252"/>
            <a:ext cx="1728192" cy="40706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</a:rPr>
              <a:t>0,05 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ru-RU" sz="1400" dirty="0" smtClean="0">
                <a:solidFill>
                  <a:prstClr val="white"/>
                </a:solidFill>
              </a:rPr>
              <a:t>млн </a:t>
            </a:r>
            <a:r>
              <a:rPr lang="ru-RU" sz="1400" dirty="0">
                <a:solidFill>
                  <a:prstClr val="white"/>
                </a:solidFill>
              </a:rPr>
              <a:t>руб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919289" y="2553906"/>
            <a:ext cx="3010020" cy="60016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йствие развитию гражданско-патриотического и  духовно- нравственного воспитания молодежи</a:t>
            </a:r>
          </a:p>
        </p:txBody>
      </p:sp>
      <p:pic>
        <p:nvPicPr>
          <p:cNvPr id="46082" name="Picture 2" descr="https://realtribune.ru/img/uploads/2021/02/231e86489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691" y="4221089"/>
            <a:ext cx="2106598" cy="1872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42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Выгнутая влево стрелка 40"/>
          <p:cNvSpPr/>
          <p:nvPr/>
        </p:nvSpPr>
        <p:spPr>
          <a:xfrm rot="5400000" flipV="1">
            <a:off x="6306403" y="3421269"/>
            <a:ext cx="469747" cy="1512168"/>
          </a:xfrm>
          <a:prstGeom prst="curvedRightArrow">
            <a:avLst>
              <a:gd name="adj1" fmla="val 25000"/>
              <a:gd name="adj2" fmla="val 50000"/>
              <a:gd name="adj3" fmla="val 70802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Выгнутая влево стрелка 6"/>
          <p:cNvSpPr/>
          <p:nvPr/>
        </p:nvSpPr>
        <p:spPr>
          <a:xfrm rot="5400000">
            <a:off x="2777424" y="3461384"/>
            <a:ext cx="469546" cy="1431738"/>
          </a:xfrm>
          <a:prstGeom prst="curvedRightArrow">
            <a:avLst>
              <a:gd name="adj1" fmla="val 25000"/>
              <a:gd name="adj2" fmla="val 40319"/>
              <a:gd name="adj3" fmla="val 67003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9" name="Стрелка вправо 38"/>
          <p:cNvSpPr/>
          <p:nvPr/>
        </p:nvSpPr>
        <p:spPr>
          <a:xfrm rot="5400000">
            <a:off x="1727684" y="5049180"/>
            <a:ext cx="216024" cy="144016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10"/>
          <p:cNvSpPr txBox="1">
            <a:spLocks noChangeArrowheads="1"/>
          </p:cNvSpPr>
          <p:nvPr/>
        </p:nvSpPr>
        <p:spPr bwMode="auto">
          <a:xfrm>
            <a:off x="1500" y="141601"/>
            <a:ext cx="9001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1600" dirty="0">
                <a:solidFill>
                  <a:prstClr val="white"/>
                </a:solidFill>
              </a:rPr>
              <a:t>Муниципальная </a:t>
            </a:r>
            <a:r>
              <a:rPr lang="ru-RU" sz="1600" dirty="0" smtClean="0">
                <a:solidFill>
                  <a:prstClr val="white"/>
                </a:solidFill>
              </a:rPr>
              <a:t>программа </a:t>
            </a:r>
            <a:r>
              <a:rPr lang="ru-RU" sz="1600" dirty="0" err="1" smtClean="0">
                <a:solidFill>
                  <a:prstClr val="white"/>
                </a:solidFill>
              </a:rPr>
              <a:t>Лихославльского</a:t>
            </a:r>
            <a:r>
              <a:rPr lang="ru-RU" sz="1600" dirty="0" smtClean="0">
                <a:solidFill>
                  <a:prstClr val="white"/>
                </a:solidFill>
              </a:rPr>
              <a:t> округа </a:t>
            </a:r>
            <a:endParaRPr lang="ru-RU" sz="1600" dirty="0">
              <a:solidFill>
                <a:schemeClr val="bg1"/>
              </a:solidFill>
            </a:endParaRPr>
          </a:p>
          <a:p>
            <a:pPr algn="r"/>
            <a:r>
              <a:rPr lang="ru-RU" sz="1600" dirty="0" smtClean="0">
                <a:solidFill>
                  <a:schemeClr val="bg1"/>
                </a:solidFill>
              </a:rPr>
              <a:t>«Комплексное развитие в сфере строительства, архитектуры, развитие объектов инженерной , социальной, транспортной инфраструктуры и дорожного хозяйства»   </a:t>
            </a:r>
            <a:r>
              <a:rPr lang="ru-RU" sz="1600" dirty="0">
                <a:solidFill>
                  <a:schemeClr val="bg1"/>
                </a:solidFill>
              </a:rPr>
              <a:t>на </a:t>
            </a:r>
            <a:r>
              <a:rPr lang="ru-RU" sz="1600" dirty="0" smtClean="0">
                <a:solidFill>
                  <a:schemeClr val="bg1"/>
                </a:solidFill>
              </a:rPr>
              <a:t>2022</a:t>
            </a:r>
            <a:r>
              <a:rPr lang="en-US" sz="1600" dirty="0" smtClean="0">
                <a:solidFill>
                  <a:schemeClr val="bg1"/>
                </a:solidFill>
              </a:rPr>
              <a:t>-20</a:t>
            </a:r>
            <a:r>
              <a:rPr lang="ru-RU" sz="1600" dirty="0" smtClean="0">
                <a:solidFill>
                  <a:schemeClr val="bg1"/>
                </a:solidFill>
              </a:rPr>
              <a:t>26 </a:t>
            </a:r>
            <a:r>
              <a:rPr lang="ru-RU" sz="1600" dirty="0">
                <a:solidFill>
                  <a:schemeClr val="bg1"/>
                </a:solidFill>
              </a:rPr>
              <a:t>годы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67704" y="1340768"/>
            <a:ext cx="5429657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</a:t>
            </a:r>
            <a:r>
              <a:rPr lang="en-US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в 2022 году</a:t>
            </a:r>
            <a:endParaRPr lang="ru-RU" sz="1400" b="1" dirty="0">
              <a:solidFill>
                <a:srgbClr val="5DCEA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084168" y="4258385"/>
            <a:ext cx="3024336" cy="646331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ржание автомобильных дорог общего пользования регионального и межмуниципального значения 3 класс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99558" y="4333824"/>
            <a:ext cx="3168351" cy="461665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ржание автомобильных дорог и сооружений на них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43616" y="5445223"/>
            <a:ext cx="3690485" cy="1015663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rgbClr val="000000"/>
                </a:solidFill>
                <a:latin typeface="Tahoma" pitchFamily="34" charset="0"/>
                <a:cs typeface="Tahoma" pitchFamily="34" charset="0"/>
              </a:defRPr>
            </a:lvl1pPr>
          </a:lstStyle>
          <a:p>
            <a:r>
              <a:rPr lang="ru-RU" dirty="0"/>
              <a:t>Развитие автомобильного транспорта на маршрутах автомобильного транспорта между поселениями в границах </a:t>
            </a:r>
            <a:r>
              <a:rPr lang="ru-RU" dirty="0" err="1"/>
              <a:t>Лихославльского</a:t>
            </a:r>
            <a:r>
              <a:rPr lang="ru-RU" dirty="0"/>
              <a:t> муниципального округа в соответствии с минимальными социальными требованиям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728066" y="4296272"/>
            <a:ext cx="2093098" cy="9736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униципальный дорожный фонд </a:t>
            </a:r>
            <a:r>
              <a:rPr lang="ru-RU" sz="1400" dirty="0" err="1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Лихославльского</a:t>
            </a:r>
            <a:r>
              <a:rPr lang="ru-RU" sz="14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округа </a:t>
            </a:r>
          </a:p>
          <a:p>
            <a:pPr algn="ctr"/>
            <a:r>
              <a:rPr lang="ru-RU" sz="14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7,3 млн. руб. </a:t>
            </a:r>
            <a:endParaRPr lang="ru-RU" sz="1400" dirty="0">
              <a:solidFill>
                <a:srgbClr val="C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5318460"/>
            <a:ext cx="2736303" cy="1494916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Прямоугольник 32"/>
          <p:cNvSpPr/>
          <p:nvPr/>
        </p:nvSpPr>
        <p:spPr>
          <a:xfrm>
            <a:off x="3934460" y="3619051"/>
            <a:ext cx="1296143" cy="4669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33,4 км дорог</a:t>
            </a:r>
            <a:endParaRPr lang="ru-RU" sz="1200" b="1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786961" y="4949761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6,9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061398" y="6529245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25,7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13762" y="1648545"/>
            <a:ext cx="2880321" cy="64633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системы газоснабжения населенных пунктов </a:t>
            </a:r>
            <a:r>
              <a:rPr lang="ru-RU" sz="12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муниципального округа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17293" y="2358354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0,8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705362" y="1740877"/>
            <a:ext cx="4297138" cy="46166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мероприятий по благоустройству населенных пунктов </a:t>
            </a:r>
            <a:r>
              <a:rPr lang="ru-RU" sz="1200" dirty="0" err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муниципального округа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047104" y="4873555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31,0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39938" name="Picture 2" descr="http://www.tv.k26.ru/uploads/posts/2010-11/1289896520_proez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6" y="5318460"/>
            <a:ext cx="2076841" cy="1557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2" name="Picture 4" descr="http://liceychepetsk.ru/img/2021/04/YDIkXK3ikmM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3120" y="7605464"/>
            <a:ext cx="18288000" cy="1371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821" y="2647918"/>
            <a:ext cx="3293650" cy="1187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6259050" y="2336878"/>
            <a:ext cx="1670589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8,8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44034" name="Picture 2" descr="https://october-tarusa.ru/sites/default/files/article_images/2021/07/8411dc136ea4903d4c2600e584a8284b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61" y="2661029"/>
            <a:ext cx="3254147" cy="1157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926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623"/>
          <a:stretch/>
        </p:blipFill>
        <p:spPr>
          <a:xfrm>
            <a:off x="4238933" y="5644928"/>
            <a:ext cx="4541074" cy="432048"/>
          </a:xfrm>
          <a:prstGeom prst="rect">
            <a:avLst/>
          </a:prstGeom>
          <a:ln>
            <a:noFill/>
          </a:ln>
          <a:effectLst>
            <a:glow rad="127000">
              <a:schemeClr val="accent1">
                <a:alpha val="0"/>
              </a:schemeClr>
            </a:glow>
            <a:outerShdw blurRad="1270000" dist="50800" dir="5400000" algn="ctr" rotWithShape="0">
              <a:srgbClr val="000000">
                <a:alpha val="0"/>
              </a:srgbClr>
            </a:outerShdw>
            <a:reflection blurRad="6350" stA="50000" endA="300" endPos="55500" dist="50800" dir="5400000" sy="-100000" algn="bl" rotWithShape="0"/>
            <a:softEdge rad="112500"/>
          </a:effectLst>
        </p:spPr>
      </p:pic>
      <p:sp>
        <p:nvSpPr>
          <p:cNvPr id="4" name="TextBox 10"/>
          <p:cNvSpPr txBox="1">
            <a:spLocks noChangeArrowheads="1"/>
          </p:cNvSpPr>
          <p:nvPr/>
        </p:nvSpPr>
        <p:spPr bwMode="auto">
          <a:xfrm>
            <a:off x="179834" y="174080"/>
            <a:ext cx="868940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dirty="0" smtClean="0">
                <a:solidFill>
                  <a:schemeClr val="bg1"/>
                </a:solidFill>
              </a:rPr>
              <a:t>Муниципальная программа Лихославльского муниципального округа «Управление </a:t>
            </a:r>
            <a:r>
              <a:rPr lang="ru-RU" dirty="0">
                <a:solidFill>
                  <a:schemeClr val="bg1"/>
                </a:solidFill>
              </a:rPr>
              <a:t>общественными  финансами и совершенствование местной налоговой политики» </a:t>
            </a:r>
            <a:r>
              <a:rPr lang="ru-RU" dirty="0" smtClean="0">
                <a:solidFill>
                  <a:schemeClr val="bg1"/>
                </a:solidFill>
              </a:rPr>
              <a:t>на 2022 </a:t>
            </a:r>
            <a:r>
              <a:rPr lang="ru-RU" dirty="0">
                <a:solidFill>
                  <a:schemeClr val="bg1"/>
                </a:solidFill>
              </a:rPr>
              <a:t>– </a:t>
            </a:r>
            <a:r>
              <a:rPr lang="ru-RU" dirty="0" smtClean="0">
                <a:solidFill>
                  <a:schemeClr val="bg1"/>
                </a:solidFill>
              </a:rPr>
              <a:t>2026 </a:t>
            </a:r>
            <a:r>
              <a:rPr lang="ru-RU" dirty="0">
                <a:solidFill>
                  <a:schemeClr val="bg1"/>
                </a:solidFill>
              </a:rPr>
              <a:t>год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4968" y="1480500"/>
            <a:ext cx="7056784" cy="67710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Цель: 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эффективного управления общественными финансами </a:t>
            </a:r>
            <a:r>
              <a:rPr lang="ru-RU" sz="1200" dirty="0" err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униципального округа  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 рамках реализации стратегии (программы) социально-экономического развития </a:t>
            </a:r>
            <a:r>
              <a:rPr lang="ru-RU" sz="1200" dirty="0" err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Лихославльского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униципального округа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09189" y="2531809"/>
            <a:ext cx="6048673" cy="215444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tIns="0" bIns="0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</a:t>
            </a:r>
            <a:r>
              <a:rPr lang="en-US" sz="14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в 2022 году</a:t>
            </a:r>
            <a:endParaRPr lang="ru-RU" sz="1400" b="1" dirty="0">
              <a:solidFill>
                <a:schemeClr val="accent4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36247" y="2852936"/>
            <a:ext cx="3591425" cy="646331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эффективного управления муниципальным долгом Лихославльского район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220072" y="4099623"/>
            <a:ext cx="3649169" cy="2880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еспечивающая подпрограмма.</a:t>
            </a:r>
            <a:endParaRPr lang="ru-RU" sz="1200" dirty="0">
              <a:solidFill>
                <a:schemeClr val="accent4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596336" y="1480500"/>
            <a:ext cx="1243416" cy="67710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7,5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млн руб. 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(1,1%)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63888" y="3645234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0,031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192633" y="4437209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7,49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" y="4078715"/>
            <a:ext cx="3603824" cy="2246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520" y="4716451"/>
            <a:ext cx="2590271" cy="1001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904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4" name="TextBox 9"/>
          <p:cNvSpPr txBox="1">
            <a:spLocks noChangeArrowheads="1"/>
          </p:cNvSpPr>
          <p:nvPr/>
        </p:nvSpPr>
        <p:spPr bwMode="auto">
          <a:xfrm>
            <a:off x="553442" y="1248817"/>
            <a:ext cx="11382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latin typeface="Calibri" pitchFamily="34" charset="0"/>
              </a:rPr>
              <a:t>т</a:t>
            </a:r>
            <a:r>
              <a:rPr lang="ru-RU" sz="1400" b="1" dirty="0" smtClean="0">
                <a:latin typeface="Calibri" pitchFamily="34" charset="0"/>
              </a:rPr>
              <a:t>ыс. </a:t>
            </a:r>
            <a:r>
              <a:rPr lang="ru-RU" sz="1400" b="1" dirty="0">
                <a:latin typeface="Calibri" pitchFamily="34" charset="0"/>
              </a:rPr>
              <a:t>руб.</a:t>
            </a:r>
          </a:p>
        </p:txBody>
      </p:sp>
      <p:sp>
        <p:nvSpPr>
          <p:cNvPr id="266247" name="TextBox 12"/>
          <p:cNvSpPr txBox="1">
            <a:spLocks noChangeArrowheads="1"/>
          </p:cNvSpPr>
          <p:nvPr/>
        </p:nvSpPr>
        <p:spPr bwMode="auto">
          <a:xfrm>
            <a:off x="7740650" y="1141660"/>
            <a:ext cx="13922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400" b="1" dirty="0">
                <a:latin typeface="Calibri" pitchFamily="34" charset="0"/>
              </a:rPr>
              <a:t>% к доходам бюджета</a:t>
            </a:r>
          </a:p>
        </p:txBody>
      </p:sp>
      <p:sp>
        <p:nvSpPr>
          <p:cNvPr id="266256" name="TextBox 4"/>
          <p:cNvSpPr txBox="1">
            <a:spLocks noChangeArrowheads="1"/>
          </p:cNvSpPr>
          <p:nvPr/>
        </p:nvSpPr>
        <p:spPr bwMode="auto">
          <a:xfrm>
            <a:off x="1763688" y="188640"/>
            <a:ext cx="721412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2000" dirty="0">
                <a:solidFill>
                  <a:schemeClr val="bg1"/>
                </a:solidFill>
                <a:latin typeface="Calibri" pitchFamily="34" charset="0"/>
              </a:rPr>
              <a:t>Объем </a:t>
            </a: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</a:rPr>
              <a:t>муниципального </a:t>
            </a:r>
            <a:r>
              <a:rPr lang="ru-RU" sz="2000" dirty="0">
                <a:solidFill>
                  <a:schemeClr val="bg1"/>
                </a:solidFill>
                <a:latin typeface="Calibri" pitchFamily="34" charset="0"/>
              </a:rPr>
              <a:t>долга </a:t>
            </a:r>
            <a:r>
              <a:rPr lang="ru-RU" sz="2000" dirty="0" err="1" smtClean="0">
                <a:solidFill>
                  <a:schemeClr val="bg1"/>
                </a:solidFill>
                <a:latin typeface="Calibri" pitchFamily="34" charset="0"/>
              </a:rPr>
              <a:t>Лихославльского</a:t>
            </a:r>
            <a:r>
              <a:rPr lang="ru-RU" sz="2000" dirty="0" smtClean="0">
                <a:solidFill>
                  <a:schemeClr val="bg1"/>
                </a:solidFill>
                <a:latin typeface="Calibri" pitchFamily="34" charset="0"/>
              </a:rPr>
              <a:t> муниципального округа и </a:t>
            </a:r>
            <a:r>
              <a:rPr lang="ru-RU" sz="2000" dirty="0">
                <a:solidFill>
                  <a:schemeClr val="bg1"/>
                </a:solidFill>
                <a:latin typeface="Calibri" pitchFamily="34" charset="0"/>
              </a:rPr>
              <a:t>доля к доходам бюджета без учета безвозмездных поступлений</a:t>
            </a:r>
          </a:p>
        </p:txBody>
      </p:sp>
      <p:graphicFrame>
        <p:nvGraphicFramePr>
          <p:cNvPr id="2" name="Диаграмма 7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062929"/>
              </p:ext>
            </p:extLst>
          </p:nvPr>
        </p:nvGraphicFramePr>
        <p:xfrm>
          <a:off x="251520" y="1556792"/>
          <a:ext cx="8431212" cy="5638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84824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>
            <a:spLocks noChangeArrowheads="1"/>
          </p:cNvSpPr>
          <p:nvPr/>
        </p:nvSpPr>
        <p:spPr bwMode="auto">
          <a:xfrm>
            <a:off x="-32251" y="147977"/>
            <a:ext cx="90010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1600" dirty="0">
                <a:solidFill>
                  <a:schemeClr val="bg1"/>
                </a:solidFill>
              </a:rPr>
              <a:t>Муниципальная программа </a:t>
            </a:r>
            <a:r>
              <a:rPr lang="ru-RU" sz="1600" dirty="0" err="1">
                <a:solidFill>
                  <a:schemeClr val="bg1"/>
                </a:solidFill>
              </a:rPr>
              <a:t>Лихославльского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  <a:r>
              <a:rPr lang="ru-RU" sz="1600" dirty="0" smtClean="0">
                <a:solidFill>
                  <a:schemeClr val="bg1"/>
                </a:solidFill>
              </a:rPr>
              <a:t>муниципального округа </a:t>
            </a:r>
            <a:endParaRPr lang="ru-RU" sz="1600" dirty="0">
              <a:solidFill>
                <a:schemeClr val="bg1"/>
              </a:solidFill>
            </a:endParaRPr>
          </a:p>
          <a:p>
            <a:pPr algn="r"/>
            <a:r>
              <a:rPr lang="ru-RU" sz="1600" dirty="0">
                <a:solidFill>
                  <a:schemeClr val="bg1"/>
                </a:solidFill>
              </a:rPr>
              <a:t>«Развитие </a:t>
            </a:r>
            <a:r>
              <a:rPr lang="ru-RU" sz="1600" dirty="0" smtClean="0">
                <a:solidFill>
                  <a:schemeClr val="bg1"/>
                </a:solidFill>
              </a:rPr>
              <a:t>жилищно – коммунальной сферы и жилищной политики»                                                                </a:t>
            </a:r>
            <a:r>
              <a:rPr lang="ru-RU" sz="1600" dirty="0">
                <a:solidFill>
                  <a:schemeClr val="bg1"/>
                </a:solidFill>
              </a:rPr>
              <a:t>на </a:t>
            </a:r>
            <a:r>
              <a:rPr lang="ru-RU" sz="1600" dirty="0" smtClean="0">
                <a:solidFill>
                  <a:schemeClr val="bg1"/>
                </a:solidFill>
              </a:rPr>
              <a:t>2022-2026 </a:t>
            </a:r>
            <a:r>
              <a:rPr lang="ru-RU" sz="1600" dirty="0">
                <a:solidFill>
                  <a:schemeClr val="bg1"/>
                </a:solidFill>
              </a:rPr>
              <a:t>годы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953064" y="1238250"/>
            <a:ext cx="5429657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</a:t>
            </a:r>
            <a:r>
              <a:rPr lang="en-US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в 2022году</a:t>
            </a:r>
            <a:endParaRPr lang="ru-RU" sz="1400" b="1" dirty="0">
              <a:solidFill>
                <a:srgbClr val="5DCEA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5208" y="2532424"/>
            <a:ext cx="1867856" cy="1015663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мероприятий по содержанию муниципального жилищного фонд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47878" y="1625658"/>
            <a:ext cx="2880321" cy="276999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Жилищная политика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487077" y="1930356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4,2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694881" y="1656382"/>
            <a:ext cx="3000404" cy="46166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омплексное развитие систем коммунальной инфраструктуры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0" name="Picture 4" descr="J:\Отдел развития бюджетных технологий\Текущие проекты\Бюджет для граждан\Бюджет 2015\Информация отделов\ЖКХ\141014-080315-728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800" y="3606911"/>
            <a:ext cx="2026403" cy="133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трелка вправо 7"/>
          <p:cNvSpPr/>
          <p:nvPr/>
        </p:nvSpPr>
        <p:spPr>
          <a:xfrm rot="2009182">
            <a:off x="3259611" y="2314255"/>
            <a:ext cx="414764" cy="1384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 rot="8913036">
            <a:off x="1154956" y="2290883"/>
            <a:ext cx="41476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6317961" y="2105247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1,4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66217" y="2686312"/>
            <a:ext cx="2047985" cy="830997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надежности функционирования объектов коммунальной инфраструктуры</a:t>
            </a:r>
          </a:p>
        </p:txBody>
      </p:sp>
      <p:pic>
        <p:nvPicPr>
          <p:cNvPr id="38918" name="Picture 6" descr="http://expert.ru/data/public/142224/142225/d_39_036_1_jpg_576x288_crop_q7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3627076"/>
            <a:ext cx="1109763" cy="86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7482190" y="2657154"/>
            <a:ext cx="1621473" cy="64633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уличного освещения территории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круга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058734" y="2532424"/>
            <a:ext cx="1910471" cy="830997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роведение мероприятий по организации доступной и </a:t>
            </a:r>
            <a:r>
              <a:rPr lang="ru-RU" sz="12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безбарьерной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реды</a:t>
            </a:r>
          </a:p>
        </p:txBody>
      </p:sp>
      <p:pic>
        <p:nvPicPr>
          <p:cNvPr id="38920" name="Picture 8" descr="http://bezformata.ru/content/Images/000/054/491/image5449126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707" y="3577395"/>
            <a:ext cx="1548352" cy="133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Стрелка вправо 47"/>
          <p:cNvSpPr/>
          <p:nvPr/>
        </p:nvSpPr>
        <p:spPr>
          <a:xfrm rot="5400000">
            <a:off x="1730084" y="2908364"/>
            <a:ext cx="138724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трелка вправо 48"/>
          <p:cNvSpPr/>
          <p:nvPr/>
        </p:nvSpPr>
        <p:spPr>
          <a:xfrm rot="7285754">
            <a:off x="5715985" y="2323278"/>
            <a:ext cx="513605" cy="1656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трелка вправо 50"/>
          <p:cNvSpPr/>
          <p:nvPr/>
        </p:nvSpPr>
        <p:spPr>
          <a:xfrm rot="3034087">
            <a:off x="8355543" y="2296837"/>
            <a:ext cx="522500" cy="1732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7668362" y="1212838"/>
            <a:ext cx="1300405" cy="35859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15,5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млн руб. </a:t>
            </a:r>
            <a:r>
              <a:rPr lang="ru-RU" sz="1200" b="1" dirty="0" smtClean="0">
                <a:solidFill>
                  <a:schemeClr val="bg1"/>
                </a:solidFill>
              </a:rPr>
              <a:t>(2,2%)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41986" name="Picture 2" descr="https://www.smartaids.ru/upload/iblock/b69/b698d42b8bb4111841686b7e8e5bf06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334" y="3548087"/>
            <a:ext cx="1807096" cy="110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1485445" y="3773576"/>
            <a:ext cx="1981547" cy="1200329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жильем молодых семей, малоимущих, 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ногодетных, </a:t>
            </a:r>
            <a:r>
              <a:rPr lang="ru-RU" sz="12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уждающихся в жилых помещениях</a:t>
            </a:r>
          </a:p>
        </p:txBody>
      </p:sp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009" y="5067641"/>
            <a:ext cx="2352127" cy="1457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AutoShape 7" descr="https://tularegion.ru/upload/iblock/d7a/d7acbf922dcac29682e546aee7604dc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9" descr="https://tularegion.ru/upload/iblock/d7a/d7acbf922dcac29682e546aee7604dc7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1" descr="https://tularegion.ru/upload/iblock/d7a/d7acbf922dcac29682e546aee7604dc7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13" descr="https://tularegion.ru/upload/iblock/d7a/d7acbf922dcac29682e546aee7604dc7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1999" name="Picture 15" descr="https://vr-vyksa.ru/media/images/Navashino_JjE6CP8.width-120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217" y="5067640"/>
            <a:ext cx="3702532" cy="145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56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>
            <a:spLocks noChangeArrowheads="1"/>
          </p:cNvSpPr>
          <p:nvPr/>
        </p:nvSpPr>
        <p:spPr bwMode="auto">
          <a:xfrm>
            <a:off x="1125" y="188640"/>
            <a:ext cx="90010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1600" dirty="0">
                <a:solidFill>
                  <a:schemeClr val="bg1"/>
                </a:solidFill>
              </a:rPr>
              <a:t>Муниципальная </a:t>
            </a:r>
            <a:r>
              <a:rPr lang="ru-RU" sz="1600" dirty="0" smtClean="0">
                <a:solidFill>
                  <a:schemeClr val="bg1"/>
                </a:solidFill>
              </a:rPr>
              <a:t>программа</a:t>
            </a:r>
            <a:endParaRPr lang="ru-RU" sz="1600" dirty="0">
              <a:solidFill>
                <a:schemeClr val="bg1"/>
              </a:solidFill>
            </a:endParaRPr>
          </a:p>
          <a:p>
            <a:pPr algn="r"/>
            <a:r>
              <a:rPr lang="ru-RU" sz="1600" dirty="0">
                <a:solidFill>
                  <a:schemeClr val="bg1"/>
                </a:solidFill>
              </a:rPr>
              <a:t>«</a:t>
            </a:r>
            <a:r>
              <a:rPr lang="ru-RU" sz="1600" dirty="0" smtClean="0">
                <a:solidFill>
                  <a:schemeClr val="bg1"/>
                </a:solidFill>
              </a:rPr>
              <a:t>Развитие и благоустройство территорий сельских поселений </a:t>
            </a:r>
            <a:r>
              <a:rPr lang="ru-RU" sz="1600" dirty="0" err="1" smtClean="0">
                <a:solidFill>
                  <a:schemeClr val="bg1"/>
                </a:solidFill>
              </a:rPr>
              <a:t>Лихославльского</a:t>
            </a:r>
            <a:r>
              <a:rPr lang="ru-RU" sz="1600" dirty="0" smtClean="0">
                <a:solidFill>
                  <a:schemeClr val="bg1"/>
                </a:solidFill>
              </a:rPr>
              <a:t>                                                  муниципального округа»   на 2022-2026 годы  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890492" y="1160225"/>
            <a:ext cx="5429657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</a:t>
            </a:r>
            <a:r>
              <a:rPr lang="en-US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в 2022году</a:t>
            </a:r>
            <a:endParaRPr lang="ru-RU" sz="1400" b="1" dirty="0">
              <a:solidFill>
                <a:srgbClr val="5DCEA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9663" y="4869160"/>
            <a:ext cx="2795493" cy="461665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Участие в ППМИ в сфере культуры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7544" y="1656382"/>
            <a:ext cx="2880321" cy="276999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рожное хозяйство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83949" y="2030649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9,3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819947" y="1649325"/>
            <a:ext cx="3000404" cy="46166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Благоустройство сельских территорий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92511" y="2660499"/>
            <a:ext cx="1499169" cy="1015663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ржание автомобильных дорог и сооружений на них местного значения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00964" y="5427583"/>
            <a:ext cx="1873257" cy="279242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0,06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103442" y="2649995"/>
            <a:ext cx="1919092" cy="1015663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дорожной сети, содержание автомобильных дорог общего пользования 4 класса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437429" y="2143397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1,5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29" name="Picture 2" descr="http://s.properm.ru/localStorage/news/a6/2e/b9/48/a62eb948_resizedScaled_659to50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6" y="3768166"/>
            <a:ext cx="1628066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http://socialmytischi.ru/images/stories/test/Den/News/remont-dorog-moskva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6774" y="3760775"/>
            <a:ext cx="1866413" cy="92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5224347" y="2742327"/>
            <a:ext cx="1628067" cy="1200329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витие и благоустройство территорий сельских поселений, в </a:t>
            </a:r>
            <a:r>
              <a:rPr lang="ru-RU" sz="12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т.ч</a:t>
            </a: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. участие в программе ППМИ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383574" y="2752831"/>
            <a:ext cx="1628067" cy="830997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Обеспечение прочих мероприятий по благоустройству сельских поселений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" name="Picture 2" descr="https://avatars.mds.yandex.net/i?id=010cd2af94fa48d27f62d87fca716f37-5180074-images-thumbs&amp;n=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650" y="3975954"/>
            <a:ext cx="2068666" cy="148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https://pbs.twimg.com/media/C-VITgrXsAE6Lbi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441" y="3676163"/>
            <a:ext cx="1800200" cy="1457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577845" y="5827912"/>
            <a:ext cx="2795493" cy="830997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держание зданий культуры, закрепленного за Управлением , в исправном состоянии (участие в ППМИ)</a:t>
            </a:r>
            <a:endParaRPr lang="ru-RU" sz="12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3014" name="Picture 6" descr="https://novozybkov.su/wp-content/uploads/2017/12/bk_info_3220_orig_150356935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774" y="5581506"/>
            <a:ext cx="2459606" cy="114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Стрелка вправо 22"/>
          <p:cNvSpPr/>
          <p:nvPr/>
        </p:nvSpPr>
        <p:spPr>
          <a:xfrm rot="8913036">
            <a:off x="658007" y="2418958"/>
            <a:ext cx="41476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право 24"/>
          <p:cNvSpPr/>
          <p:nvPr/>
        </p:nvSpPr>
        <p:spPr>
          <a:xfrm rot="5400000">
            <a:off x="761974" y="3381476"/>
            <a:ext cx="2247715" cy="1439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 rot="1972666">
            <a:off x="2642379" y="2415536"/>
            <a:ext cx="41476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 rot="8913036">
            <a:off x="6090217" y="2500786"/>
            <a:ext cx="41476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право 35"/>
          <p:cNvSpPr/>
          <p:nvPr/>
        </p:nvSpPr>
        <p:spPr>
          <a:xfrm rot="1706208">
            <a:off x="8319928" y="2493227"/>
            <a:ext cx="414764" cy="1439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6560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>
            <a:spLocks noChangeArrowheads="1"/>
          </p:cNvSpPr>
          <p:nvPr/>
        </p:nvSpPr>
        <p:spPr bwMode="auto">
          <a:xfrm>
            <a:off x="114990" y="141601"/>
            <a:ext cx="877749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E6E7DB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algn="r"/>
            <a:r>
              <a:rPr lang="ru-RU" sz="1600" dirty="0" smtClean="0">
                <a:solidFill>
                  <a:prstClr val="white"/>
                </a:solidFill>
              </a:rPr>
              <a:t>Муниципальная программа</a:t>
            </a:r>
            <a:endParaRPr lang="ru-RU" sz="1600" dirty="0">
              <a:solidFill>
                <a:prstClr val="white"/>
              </a:solidFill>
            </a:endParaRPr>
          </a:p>
          <a:p>
            <a:pPr algn="r"/>
            <a:r>
              <a:rPr lang="ru-RU" sz="1600" dirty="0" smtClean="0">
                <a:solidFill>
                  <a:prstClr val="white"/>
                </a:solidFill>
              </a:rPr>
              <a:t>«Формирование современной городской среды                                             Лихославльского муниципального округа»                             </a:t>
            </a:r>
          </a:p>
          <a:p>
            <a:pPr algn="r"/>
            <a:r>
              <a:rPr lang="ru-RU" sz="1600" dirty="0" smtClean="0">
                <a:solidFill>
                  <a:prstClr val="white"/>
                </a:solidFill>
              </a:rPr>
              <a:t> </a:t>
            </a:r>
            <a:r>
              <a:rPr lang="ru-RU" sz="1600" dirty="0">
                <a:solidFill>
                  <a:prstClr val="white"/>
                </a:solidFill>
              </a:rPr>
              <a:t>на </a:t>
            </a:r>
            <a:r>
              <a:rPr lang="ru-RU" sz="1600" dirty="0" smtClean="0">
                <a:solidFill>
                  <a:prstClr val="white"/>
                </a:solidFill>
              </a:rPr>
              <a:t>2022-2026 </a:t>
            </a:r>
            <a:r>
              <a:rPr lang="ru-RU" sz="1600" dirty="0">
                <a:solidFill>
                  <a:prstClr val="white"/>
                </a:solidFill>
              </a:rPr>
              <a:t>годы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929180" y="1393298"/>
            <a:ext cx="5429657" cy="30777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Основные направления финансирования</a:t>
            </a:r>
            <a:r>
              <a:rPr lang="en-US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5DCEA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в 2022году</a:t>
            </a:r>
            <a:endParaRPr lang="ru-RU" sz="1400" b="1" dirty="0">
              <a:solidFill>
                <a:srgbClr val="5DCEA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27583" y="1860044"/>
            <a:ext cx="2664297" cy="646331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en-US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II 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этап Благоустройство парка в районе МБУ «Лихославльский </a:t>
            </a:r>
            <a:r>
              <a:rPr 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йонный </a:t>
            </a:r>
            <a:r>
              <a:rPr lang="ru-RU" sz="12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ЦДОиР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0332640" y="5659248"/>
            <a:ext cx="1621473" cy="276999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города</a:t>
            </a:r>
            <a:endParaRPr lang="ru-RU" sz="1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693566" y="1299223"/>
            <a:ext cx="1244062" cy="49592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</a:rPr>
              <a:t>12,9</a:t>
            </a:r>
          </a:p>
          <a:p>
            <a:pPr algn="ctr"/>
            <a:r>
              <a:rPr lang="ru-RU" sz="1400" b="1" dirty="0" smtClean="0">
                <a:solidFill>
                  <a:prstClr val="white"/>
                </a:solidFill>
              </a:rPr>
              <a:t> </a:t>
            </a:r>
            <a:r>
              <a:rPr lang="ru-RU" sz="1400" b="1" dirty="0">
                <a:solidFill>
                  <a:prstClr val="white"/>
                </a:solidFill>
              </a:rPr>
              <a:t>млн руб. </a:t>
            </a:r>
            <a:r>
              <a:rPr lang="ru-RU" sz="1400" b="1" dirty="0" smtClean="0">
                <a:solidFill>
                  <a:prstClr val="white"/>
                </a:solidFill>
              </a:rPr>
              <a:t>(1,8%)</a:t>
            </a:r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15616" y="2636912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9,5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68359" y="1860044"/>
            <a:ext cx="2372521" cy="646331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en-US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этап Благоустройство 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узыкальной площадки парка по ул. Ленина п. Калашниково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364088" y="2640691"/>
            <a:ext cx="1873257" cy="262896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3,4 млн </a:t>
            </a:r>
            <a:r>
              <a:rPr lang="ru-RU" sz="1400" dirty="0">
                <a:solidFill>
                  <a:schemeClr val="bg1"/>
                </a:solidFill>
              </a:rPr>
              <a:t>руб.</a:t>
            </a:r>
          </a:p>
        </p:txBody>
      </p:sp>
      <p:pic>
        <p:nvPicPr>
          <p:cNvPr id="45060" name="Picture 4" descr="https://1.bp.blogspot.com/-LxiopkVUaVs/Wu1s5_4F__I/AAAAAAAACwI/4bNa4W80z-A_U0yvxKIS60Nk-Zmw_KyEgCLcBGAs/s1600/0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560" y="3061056"/>
            <a:ext cx="3060341" cy="2728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448331" y="1860044"/>
            <a:ext cx="2162293" cy="646331"/>
          </a:xfrm>
          <a:prstGeom prst="rect">
            <a:avLst/>
          </a:prstGeom>
          <a:ln>
            <a:solidFill>
              <a:srgbClr val="A446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емонт придомовой территории  по ул. Лесная                                п. Калашниково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986" name="Picture 2" descr="http://etkul74.ru/img/news_img/ec7d7da5bb1fa5c6925b1ce9ac2639e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421" y="3074202"/>
            <a:ext cx="2592288" cy="2715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88" name="Picture 4" descr="https://mirrorgroup.ru/wp-content/uploads/2021/02/01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359" y="3074202"/>
            <a:ext cx="2459825" cy="2723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33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27584" y="1268760"/>
            <a:ext cx="7760459" cy="92333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400" b="1" spc="50" dirty="0">
                <a:ln w="11430"/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Спасибо за внимание!</a:t>
            </a:r>
          </a:p>
        </p:txBody>
      </p:sp>
      <p:sp>
        <p:nvSpPr>
          <p:cNvPr id="7" name="Овал 6"/>
          <p:cNvSpPr/>
          <p:nvPr/>
        </p:nvSpPr>
        <p:spPr>
          <a:xfrm>
            <a:off x="2699792" y="2348880"/>
            <a:ext cx="3888432" cy="2592287"/>
          </a:xfrm>
          <a:prstGeom prst="ellipse">
            <a:avLst/>
          </a:prstGeom>
          <a:gradFill flip="none" rotWithShape="1">
            <a:gsLst>
              <a:gs pos="0">
                <a:srgbClr val="6F7C50">
                  <a:tint val="66000"/>
                  <a:satMod val="160000"/>
                </a:srgbClr>
              </a:gs>
              <a:gs pos="50000">
                <a:srgbClr val="6F7C50">
                  <a:tint val="44500"/>
                  <a:satMod val="160000"/>
                </a:srgbClr>
              </a:gs>
              <a:gs pos="100000">
                <a:srgbClr val="6F7C5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3773" name="TextBox 5"/>
          <p:cNvSpPr txBox="1">
            <a:spLocks noChangeArrowheads="1"/>
          </p:cNvSpPr>
          <p:nvPr/>
        </p:nvSpPr>
        <p:spPr bwMode="auto">
          <a:xfrm>
            <a:off x="3051629" y="2924944"/>
            <a:ext cx="3312368" cy="243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ahoma" pitchFamily="34" charset="0"/>
                <a:cs typeface="Tahoma" pitchFamily="34" charset="0"/>
              </a:rPr>
              <a:t>Финансовый отдел администрации Лихославльского района </a:t>
            </a:r>
            <a:endParaRPr lang="ru-RU" sz="1400" dirty="0">
              <a:latin typeface="Tahoma" pitchFamily="34" charset="0"/>
              <a:cs typeface="Tahoma" pitchFamily="34" charset="0"/>
            </a:endParaRPr>
          </a:p>
          <a:p>
            <a:pPr algn="ctr"/>
            <a:endParaRPr lang="en-US" sz="800" dirty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ru-RU" sz="1400" dirty="0">
                <a:latin typeface="Tahoma" pitchFamily="34" charset="0"/>
                <a:cs typeface="Tahoma" pitchFamily="34" charset="0"/>
              </a:rPr>
              <a:t> </a:t>
            </a:r>
            <a:endParaRPr lang="en-US" sz="1400" dirty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ru-RU" sz="1400" dirty="0">
                <a:latin typeface="Tahoma" pitchFamily="34" charset="0"/>
                <a:cs typeface="Tahoma" pitchFamily="34" charset="0"/>
              </a:rPr>
              <a:t>Тел.: </a:t>
            </a:r>
            <a:r>
              <a:rPr lang="ru-RU" sz="1400" dirty="0" smtClean="0">
                <a:latin typeface="Tahoma" pitchFamily="34" charset="0"/>
                <a:cs typeface="Tahoma" pitchFamily="34" charset="0"/>
              </a:rPr>
              <a:t>(848261) 3-50-66</a:t>
            </a:r>
            <a:r>
              <a:rPr lang="ru-RU" sz="1400" dirty="0">
                <a:latin typeface="Tahoma" pitchFamily="34" charset="0"/>
                <a:cs typeface="Tahoma" pitchFamily="34" charset="0"/>
              </a:rPr>
              <a:t/>
            </a:r>
            <a:br>
              <a:rPr lang="ru-RU" sz="1400" dirty="0">
                <a:latin typeface="Tahoma" pitchFamily="34" charset="0"/>
                <a:cs typeface="Tahoma" pitchFamily="34" charset="0"/>
              </a:rPr>
            </a:br>
            <a:r>
              <a:rPr lang="ru-RU" sz="1400" dirty="0">
                <a:latin typeface="Tahoma" pitchFamily="34" charset="0"/>
                <a:cs typeface="Tahoma" pitchFamily="34" charset="0"/>
              </a:rPr>
              <a:t>Факс</a:t>
            </a:r>
            <a:r>
              <a:rPr lang="ru-RU" sz="1400" dirty="0" smtClean="0">
                <a:latin typeface="Tahoma" pitchFamily="34" charset="0"/>
                <a:cs typeface="Tahoma" pitchFamily="34" charset="0"/>
              </a:rPr>
              <a:t>:(848261) 3-55-31</a:t>
            </a:r>
            <a:endParaRPr lang="en-US" sz="1400" dirty="0" smtClean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ru-RU" sz="1400" dirty="0">
                <a:latin typeface="Tahoma" pitchFamily="34" charset="0"/>
                <a:cs typeface="Tahoma" pitchFamily="34" charset="0"/>
              </a:rPr>
              <a:t/>
            </a:r>
            <a:br>
              <a:rPr lang="ru-RU" sz="1400" dirty="0">
                <a:latin typeface="Tahoma" pitchFamily="34" charset="0"/>
                <a:cs typeface="Tahoma" pitchFamily="34" charset="0"/>
              </a:rPr>
            </a:br>
            <a:r>
              <a:rPr lang="en-US" sz="1400" dirty="0" smtClean="0">
                <a:latin typeface="Tahoma" pitchFamily="34" charset="0"/>
                <a:cs typeface="Tahoma" pitchFamily="34" charset="0"/>
              </a:rPr>
              <a:t>e-mail</a:t>
            </a:r>
            <a:endParaRPr lang="ru-RU" sz="1400" dirty="0" smtClean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 smtClean="0">
                <a:latin typeface="Tahoma" pitchFamily="34" charset="0"/>
                <a:cs typeface="Tahoma" pitchFamily="34" charset="0"/>
                <a:hlinkClick r:id="rId3"/>
              </a:rPr>
              <a:t>tverfin@yandex.ru</a:t>
            </a:r>
            <a:endParaRPr lang="ru-RU" sz="1400" b="1" dirty="0" smtClean="0">
              <a:latin typeface="Tahoma" pitchFamily="34" charset="0"/>
              <a:cs typeface="Tahoma" pitchFamily="34" charset="0"/>
            </a:endParaRPr>
          </a:p>
          <a:p>
            <a:pPr algn="ctr"/>
            <a:endParaRPr lang="ru-RU" sz="1400" b="1" dirty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 smtClean="0">
                <a:latin typeface="Tahoma" pitchFamily="34" charset="0"/>
                <a:cs typeface="Tahoma" pitchFamily="34" charset="0"/>
              </a:rPr>
              <a:t> </a:t>
            </a:r>
            <a:endParaRPr lang="ru-RU" sz="1400" b="1" dirty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75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1700808"/>
            <a:ext cx="835292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Перечень </a:t>
            </a:r>
            <a:r>
              <a:rPr lang="ru-RU" sz="2000" b="1" dirty="0" smtClean="0">
                <a:solidFill>
                  <a:srgbClr val="C00000"/>
                </a:solidFill>
                <a:cs typeface="Calibri" pitchFamily="34" charset="0"/>
              </a:rPr>
              <a:t>наиболее значимых приоритетных задач бюджетной политики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, решаемых в рамках формирования и исполнения бюджета </a:t>
            </a:r>
            <a:r>
              <a:rPr lang="ru-R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Лихославльского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 муниципального округа в 2022 году: </a:t>
            </a:r>
          </a:p>
          <a:p>
            <a:endParaRPr lang="ru-RU" sz="2000" dirty="0" smtClean="0">
              <a:solidFill>
                <a:schemeClr val="tx1">
                  <a:lumMod val="95000"/>
                  <a:lumOff val="5000"/>
                </a:schemeClr>
              </a:solidFill>
              <a:cs typeface="Calibri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Развитие системы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cs typeface="Calibri" pitchFamily="34" charset="0"/>
              </a:rPr>
              <a:t>стратегического планирования </a:t>
            </a: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на основе 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бюджетного прогноза на среднесрочный период и муниципальных </a:t>
            </a: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программ </a:t>
            </a:r>
            <a:r>
              <a:rPr lang="ru-R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Лихославльского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 муниципального округа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Calibri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Обеспечение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cs typeface="Calibri" pitchFamily="34" charset="0"/>
              </a:rPr>
              <a:t>устойчивости, сбалансированности 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бюджета муниципального округа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Calibri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Повышение эффективности управления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cs typeface="Calibri" pitchFamily="34" charset="0"/>
              </a:rPr>
              <a:t>доходным потенциалом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Реализация мер</a:t>
            </a: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, направленных 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на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cs typeface="Calibri" pitchFamily="34" charset="0"/>
              </a:rPr>
              <a:t>повышение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cs typeface="Calibri" pitchFamily="34" charset="0"/>
              </a:rPr>
              <a:t>эффективности </a:t>
            </a: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бюджетных 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Calibri" pitchFamily="34" charset="0"/>
              </a:rPr>
              <a:t>расходов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Обеспечение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большей прозрачности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и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открытости </a:t>
            </a:r>
            <a:r>
              <a:rPr 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бюджетного процесса для </a:t>
            </a:r>
            <a:r>
              <a:rPr 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граждан</a:t>
            </a:r>
            <a:endParaRPr lang="ru-RU" sz="2000" dirty="0" smtClean="0">
              <a:solidFill>
                <a:schemeClr val="tx1">
                  <a:lumMod val="95000"/>
                  <a:lumOff val="5000"/>
                </a:schemeClr>
              </a:solidFill>
              <a:cs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35696" y="275456"/>
            <a:ext cx="7128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solidFill>
                  <a:schemeClr val="bg1"/>
                </a:solidFill>
                <a:latin typeface="Calibri" pitchFamily="34" charset="0"/>
                <a:ea typeface="Tahoma" pitchFamily="34" charset="0"/>
                <a:cs typeface="Arial" pitchFamily="34" charset="0"/>
              </a:rPr>
              <a:t>Наиболее значимые приоритетные задачи</a:t>
            </a:r>
            <a:endParaRPr lang="ru-RU" sz="2000" b="1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045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211960" y="2204864"/>
            <a:ext cx="453650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Основные характеристики бюджета</a:t>
            </a:r>
            <a:endParaRPr lang="ru-RU" sz="4400" b="1" dirty="0">
              <a:solidFill>
                <a:schemeClr val="accent6">
                  <a:lumMod val="50000"/>
                </a:schemeClr>
              </a:solidFill>
              <a:latin typeface="Calibri" pitchFamily="34" charset="0"/>
              <a:cs typeface="Times New Roman" panose="02020603050405020304" pitchFamily="18" charset="0"/>
            </a:endParaRPr>
          </a:p>
        </p:txBody>
      </p:sp>
      <p:pic>
        <p:nvPicPr>
          <p:cNvPr id="40962" name="Picture 2" descr="http://subbotkina.ru/wp-content/uploads/2012/09/706f30a47464e99f1cf21f9781775aea909e79b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56792"/>
            <a:ext cx="3333750" cy="386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604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4781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5" name="think-cell Slide" r:id="rId59" imgW="360" imgH="360" progId="">
                  <p:embed/>
                </p:oleObj>
              </mc:Choice>
              <mc:Fallback>
                <p:oleObj name="think-cell Slide" r:id="rId59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Группа 21"/>
          <p:cNvGrpSpPr/>
          <p:nvPr>
            <p:custDataLst>
              <p:tags r:id="rId3"/>
            </p:custDataLst>
          </p:nvPr>
        </p:nvGrpSpPr>
        <p:grpSpPr>
          <a:xfrm>
            <a:off x="1671151" y="1764678"/>
            <a:ext cx="2088924" cy="2099963"/>
            <a:chOff x="84168" y="1661750"/>
            <a:chExt cx="2541180" cy="2503444"/>
          </a:xfrm>
        </p:grpSpPr>
        <p:sp>
          <p:nvSpPr>
            <p:cNvPr id="29" name="Кольцо 28"/>
            <p:cNvSpPr/>
            <p:nvPr/>
          </p:nvSpPr>
          <p:spPr bwMode="auto">
            <a:xfrm>
              <a:off x="84168" y="1759356"/>
              <a:ext cx="2541180" cy="2405838"/>
            </a:xfrm>
            <a:prstGeom prst="donut">
              <a:avLst>
                <a:gd name="adj" fmla="val 1613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4" name="Text Box 28"/>
            <p:cNvSpPr txBox="1"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286542" y="3573252"/>
              <a:ext cx="2232133" cy="3132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Акцизы</a:t>
              </a:r>
              <a:endParaRPr lang="ru-RU" sz="11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Text Box 28"/>
            <p:cNvSpPr txBox="1"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726874" y="1661750"/>
              <a:ext cx="1226814" cy="625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15,2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млн. руб.</a:t>
              </a:r>
              <a:endParaRPr lang="ru-RU" sz="1400" b="1" dirty="0">
                <a:solidFill>
                  <a:srgbClr val="0066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282626" name="pg num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7010727" y="6661415"/>
            <a:ext cx="1902611" cy="18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A6F0202-0ED0-4208-A8AC-BED347C65DBC}" type="slidenum">
              <a:rPr lang="en-US" sz="1200" b="1">
                <a:solidFill>
                  <a:srgbClr val="FFFFFF"/>
                </a:solidFill>
                <a:latin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82627" name="Text Box 2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4255" y="928146"/>
            <a:ext cx="5030989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ОХОДЫ БЮДЖЕТА: </a:t>
            </a:r>
            <a:r>
              <a:rPr lang="ru-RU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714,4</a:t>
            </a:r>
            <a:r>
              <a:rPr lang="ru-RU" sz="1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млн. рублей</a:t>
            </a:r>
            <a:endParaRPr lang="ru-RU" sz="18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2632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24128" y="907898"/>
            <a:ext cx="634886" cy="408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207" tIns="50106" rIns="100207" bIns="50106">
            <a:spAutoFit/>
          </a:bodyPr>
          <a:lstStyle/>
          <a:p>
            <a:pPr defTabSz="1006686"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srgbClr val="000000"/>
              </a:solidFill>
            </a:endParaRPr>
          </a:p>
        </p:txBody>
      </p:sp>
      <p:sp>
        <p:nvSpPr>
          <p:cNvPr id="8" name="Text Box 2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7366" y="1340768"/>
            <a:ext cx="6736921" cy="308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НАЛОГОВЫЕ И НЕНАЛОГОВЫЕ ДОХОДЫ   357,8 млн. рублей (50,1%)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0" name="Группа 9"/>
          <p:cNvGrpSpPr/>
          <p:nvPr>
            <p:custDataLst>
              <p:tags r:id="rId8"/>
            </p:custDataLst>
          </p:nvPr>
        </p:nvGrpSpPr>
        <p:grpSpPr>
          <a:xfrm>
            <a:off x="1544616" y="3956399"/>
            <a:ext cx="2329365" cy="2240647"/>
            <a:chOff x="-67883" y="1574233"/>
            <a:chExt cx="2977893" cy="2773904"/>
          </a:xfrm>
        </p:grpSpPr>
        <p:grpSp>
          <p:nvGrpSpPr>
            <p:cNvPr id="7" name="Группа 6"/>
            <p:cNvGrpSpPr/>
            <p:nvPr>
              <p:custDataLst>
                <p:tags r:id="rId51"/>
              </p:custDataLst>
            </p:nvPr>
          </p:nvGrpSpPr>
          <p:grpSpPr>
            <a:xfrm>
              <a:off x="84167" y="1759356"/>
              <a:ext cx="2541181" cy="2405838"/>
              <a:chOff x="255180" y="1879084"/>
              <a:chExt cx="2541181" cy="2405838"/>
            </a:xfrm>
          </p:grpSpPr>
          <p:pic>
            <p:nvPicPr>
              <p:cNvPr id="5" name="Рисунок 4"/>
              <p:cNvPicPr>
                <a:picLocks noChangeAspect="1"/>
              </p:cNvPicPr>
              <p:nvPr>
                <p:custDataLst>
                  <p:tags r:id="rId54"/>
                </p:custDataLst>
              </p:nvPr>
            </p:nvPicPr>
            <p:blipFill>
              <a:blip r:embed="rId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8945" y="2360858"/>
                <a:ext cx="1951753" cy="1403067"/>
              </a:xfrm>
              <a:prstGeom prst="rect">
                <a:avLst/>
              </a:prstGeom>
            </p:spPr>
          </p:pic>
          <p:grpSp>
            <p:nvGrpSpPr>
              <p:cNvPr id="4" name="Группа 3"/>
              <p:cNvGrpSpPr/>
              <p:nvPr>
                <p:custDataLst>
                  <p:tags r:id="rId55"/>
                </p:custDataLst>
              </p:nvPr>
            </p:nvGrpSpPr>
            <p:grpSpPr>
              <a:xfrm>
                <a:off x="255180" y="1879084"/>
                <a:ext cx="2541181" cy="2405838"/>
                <a:chOff x="365395" y="2020185"/>
                <a:chExt cx="1926221" cy="1873787"/>
              </a:xfrm>
            </p:grpSpPr>
            <p:sp>
              <p:nvSpPr>
                <p:cNvPr id="3" name="Кольцо 2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1" name="Кольцо 10"/>
                <p:cNvSpPr/>
                <p:nvPr/>
              </p:nvSpPr>
              <p:spPr bwMode="auto">
                <a:xfrm>
                  <a:off x="365395" y="2020185"/>
                  <a:ext cx="1926221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sp>
          <p:nvSpPr>
            <p:cNvPr id="20" name="Text Box 28"/>
            <p:cNvSpPr txBox="1"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-67883" y="3603750"/>
              <a:ext cx="2977893" cy="744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Плата за негативное воздействие на окружающую среду</a:t>
              </a:r>
              <a:endParaRPr lang="ru-RU" sz="11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Text Box 28"/>
            <p:cNvSpPr txBox="1"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789861" y="1574233"/>
              <a:ext cx="1289251" cy="649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0,3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млн. руб.</a:t>
              </a:r>
              <a:endParaRPr lang="ru-RU" sz="1400" b="1" dirty="0">
                <a:solidFill>
                  <a:srgbClr val="0066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8" name="Группа 17"/>
          <p:cNvGrpSpPr/>
          <p:nvPr>
            <p:custDataLst>
              <p:tags r:id="rId9"/>
            </p:custDataLst>
          </p:nvPr>
        </p:nvGrpSpPr>
        <p:grpSpPr>
          <a:xfrm>
            <a:off x="3306329" y="1742366"/>
            <a:ext cx="2088923" cy="2115359"/>
            <a:chOff x="4024383" y="1698674"/>
            <a:chExt cx="2541180" cy="2582033"/>
          </a:xfrm>
        </p:grpSpPr>
        <p:pic>
          <p:nvPicPr>
            <p:cNvPr id="13" name="Рисунок 12"/>
            <p:cNvPicPr>
              <a:picLocks noChangeAspect="1"/>
            </p:cNvPicPr>
            <p:nvPr>
              <p:custDataLst>
                <p:tags r:id="rId46"/>
              </p:custDataLst>
            </p:nvPr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1999" y="2338413"/>
              <a:ext cx="1409905" cy="1322691"/>
            </a:xfrm>
            <a:prstGeom prst="rect">
              <a:avLst/>
            </a:prstGeom>
          </p:spPr>
        </p:pic>
        <p:grpSp>
          <p:nvGrpSpPr>
            <p:cNvPr id="32" name="Группа 31"/>
            <p:cNvGrpSpPr/>
            <p:nvPr>
              <p:custDataLst>
                <p:tags r:id="rId47"/>
              </p:custDataLst>
            </p:nvPr>
          </p:nvGrpSpPr>
          <p:grpSpPr>
            <a:xfrm>
              <a:off x="4024383" y="1698674"/>
              <a:ext cx="2541180" cy="2582033"/>
              <a:chOff x="84168" y="1633204"/>
              <a:chExt cx="2541180" cy="2582033"/>
            </a:xfrm>
          </p:grpSpPr>
          <p:grpSp>
            <p:nvGrpSpPr>
              <p:cNvPr id="33" name="Группа 32"/>
              <p:cNvGrpSpPr/>
              <p:nvPr>
                <p:custDataLst>
                  <p:tags r:id="rId48"/>
                </p:custDataLst>
              </p:nvPr>
            </p:nvGrpSpPr>
            <p:grpSpPr>
              <a:xfrm>
                <a:off x="84168" y="1759356"/>
                <a:ext cx="2541180" cy="2405838"/>
                <a:chOff x="365396" y="2020185"/>
                <a:chExt cx="1926220" cy="1873787"/>
              </a:xfrm>
            </p:grpSpPr>
            <p:sp>
              <p:nvSpPr>
                <p:cNvPr id="36" name="Кольцо 35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7" name="Кольцо 36"/>
                <p:cNvSpPr/>
                <p:nvPr/>
              </p:nvSpPr>
              <p:spPr bwMode="auto">
                <a:xfrm>
                  <a:off x="365396" y="2020185"/>
                  <a:ext cx="1926220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sp>
            <p:nvSpPr>
              <p:cNvPr id="34" name="Text Box 28"/>
              <p:cNvSpPr txBox="1"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64816" y="3687920"/>
                <a:ext cx="2023373" cy="5273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Налоги на совокупный</a:t>
                </a:r>
              </a:p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доход</a:t>
                </a:r>
                <a:endParaRPr lang="ru-RU" sz="11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5" name="Text Box 28"/>
              <p:cNvSpPr txBox="1"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741351" y="1633204"/>
                <a:ext cx="1226815" cy="6400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9,9</a:t>
                </a:r>
              </a:p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млн. руб.</a:t>
                </a:r>
                <a:endParaRPr lang="ru-RU" sz="1400" b="1" dirty="0">
                  <a:solidFill>
                    <a:srgbClr val="006600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40" name="Группа 39"/>
          <p:cNvGrpSpPr/>
          <p:nvPr>
            <p:custDataLst>
              <p:tags r:id="rId10"/>
            </p:custDataLst>
          </p:nvPr>
        </p:nvGrpSpPr>
        <p:grpSpPr>
          <a:xfrm>
            <a:off x="4943946" y="1810844"/>
            <a:ext cx="2088923" cy="2005885"/>
            <a:chOff x="84168" y="1716787"/>
            <a:chExt cx="2541180" cy="2448407"/>
          </a:xfrm>
        </p:grpSpPr>
        <p:sp>
          <p:nvSpPr>
            <p:cNvPr id="45" name="Кольцо 44"/>
            <p:cNvSpPr/>
            <p:nvPr/>
          </p:nvSpPr>
          <p:spPr bwMode="auto">
            <a:xfrm>
              <a:off x="84168" y="1759356"/>
              <a:ext cx="2541180" cy="2405838"/>
            </a:xfrm>
            <a:prstGeom prst="donut">
              <a:avLst>
                <a:gd name="adj" fmla="val 1613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Text Box 28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45717" y="3720905"/>
              <a:ext cx="1972673" cy="320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Налоги на имущество</a:t>
              </a:r>
              <a:endParaRPr lang="ru-RU" sz="11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Text Box 28"/>
            <p:cNvSpPr txBox="1"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741351" y="1716787"/>
              <a:ext cx="1226815" cy="640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29,1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млн. руб.</a:t>
              </a:r>
              <a:endParaRPr lang="ru-RU" sz="1400" b="1" dirty="0">
                <a:solidFill>
                  <a:srgbClr val="0066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7" name="Группа 46"/>
          <p:cNvGrpSpPr/>
          <p:nvPr>
            <p:custDataLst>
              <p:tags r:id="rId11"/>
            </p:custDataLst>
          </p:nvPr>
        </p:nvGrpSpPr>
        <p:grpSpPr>
          <a:xfrm>
            <a:off x="23260" y="1704779"/>
            <a:ext cx="2073364" cy="2126705"/>
            <a:chOff x="-507121" y="4239981"/>
            <a:chExt cx="2541180" cy="2515225"/>
          </a:xfrm>
        </p:grpSpPr>
        <p:pic>
          <p:nvPicPr>
            <p:cNvPr id="46" name="Рисунок 45"/>
            <p:cNvPicPr>
              <a:picLocks noChangeAspect="1"/>
            </p:cNvPicPr>
            <p:nvPr>
              <p:custDataLst>
                <p:tags r:id="rId39"/>
              </p:custDataLst>
            </p:nvPr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731" y="5042945"/>
              <a:ext cx="1340372" cy="1018683"/>
            </a:xfrm>
            <a:prstGeom prst="rect">
              <a:avLst/>
            </a:prstGeom>
          </p:spPr>
        </p:pic>
        <p:grpSp>
          <p:nvGrpSpPr>
            <p:cNvPr id="49" name="Группа 48"/>
            <p:cNvGrpSpPr/>
            <p:nvPr>
              <p:custDataLst>
                <p:tags r:id="rId40"/>
              </p:custDataLst>
            </p:nvPr>
          </p:nvGrpSpPr>
          <p:grpSpPr>
            <a:xfrm>
              <a:off x="-507121" y="4239981"/>
              <a:ext cx="2541180" cy="2515225"/>
              <a:chOff x="84168" y="1649969"/>
              <a:chExt cx="2541180" cy="2515225"/>
            </a:xfrm>
          </p:grpSpPr>
          <p:grpSp>
            <p:nvGrpSpPr>
              <p:cNvPr id="50" name="Группа 49"/>
              <p:cNvGrpSpPr/>
              <p:nvPr>
                <p:custDataLst>
                  <p:tags r:id="rId41"/>
                </p:custDataLst>
              </p:nvPr>
            </p:nvGrpSpPr>
            <p:grpSpPr>
              <a:xfrm>
                <a:off x="84168" y="1759356"/>
                <a:ext cx="2541180" cy="2405838"/>
                <a:chOff x="365396" y="2020185"/>
                <a:chExt cx="1926220" cy="1873787"/>
              </a:xfrm>
            </p:grpSpPr>
            <p:sp>
              <p:nvSpPr>
                <p:cNvPr id="53" name="Кольцо 52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54" name="Кольцо 53"/>
                <p:cNvSpPr/>
                <p:nvPr/>
              </p:nvSpPr>
              <p:spPr bwMode="auto">
                <a:xfrm>
                  <a:off x="365396" y="2020185"/>
                  <a:ext cx="1926220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sp>
            <p:nvSpPr>
              <p:cNvPr id="51" name="Text Box 28"/>
              <p:cNvSpPr txBox="1"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537119" y="3573252"/>
                <a:ext cx="1635314" cy="534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Налог на доходы </a:t>
                </a:r>
                <a:b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</a:b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физических лиц</a:t>
                </a:r>
                <a:endParaRPr lang="ru-RU" sz="11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52" name="Text Box 28"/>
              <p:cNvSpPr txBox="1"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767279" y="1649969"/>
                <a:ext cx="1236021" cy="6201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262,6</a:t>
                </a:r>
              </a:p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млн. руб.</a:t>
                </a:r>
                <a:endParaRPr lang="ru-RU" sz="1400" b="1" dirty="0">
                  <a:solidFill>
                    <a:srgbClr val="006600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72" name="Группа 71"/>
          <p:cNvGrpSpPr/>
          <p:nvPr>
            <p:custDataLst>
              <p:tags r:id="rId12"/>
            </p:custDataLst>
          </p:nvPr>
        </p:nvGrpSpPr>
        <p:grpSpPr>
          <a:xfrm>
            <a:off x="3324203" y="3955051"/>
            <a:ext cx="2088924" cy="2306001"/>
            <a:chOff x="5873109" y="4005988"/>
            <a:chExt cx="2541180" cy="2854813"/>
          </a:xfrm>
        </p:grpSpPr>
        <p:pic>
          <p:nvPicPr>
            <p:cNvPr id="65" name="Рисунок 64"/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7622" y="4557795"/>
              <a:ext cx="1708208" cy="1571551"/>
            </a:xfrm>
            <a:prstGeom prst="rect">
              <a:avLst/>
            </a:prstGeom>
          </p:spPr>
        </p:pic>
        <p:grpSp>
          <p:nvGrpSpPr>
            <p:cNvPr id="74" name="Группа 73"/>
            <p:cNvGrpSpPr/>
            <p:nvPr>
              <p:custDataLst>
                <p:tags r:id="rId35"/>
              </p:custDataLst>
            </p:nvPr>
          </p:nvGrpSpPr>
          <p:grpSpPr>
            <a:xfrm>
              <a:off x="5873109" y="4005988"/>
              <a:ext cx="2541180" cy="2854813"/>
              <a:chOff x="84168" y="1546433"/>
              <a:chExt cx="2541180" cy="2854813"/>
            </a:xfrm>
          </p:grpSpPr>
          <p:grpSp>
            <p:nvGrpSpPr>
              <p:cNvPr id="75" name="Группа 74"/>
              <p:cNvGrpSpPr/>
              <p:nvPr>
                <p:custDataLst>
                  <p:tags r:id="rId36"/>
                </p:custDataLst>
              </p:nvPr>
            </p:nvGrpSpPr>
            <p:grpSpPr>
              <a:xfrm>
                <a:off x="84168" y="1759356"/>
                <a:ext cx="2541180" cy="2405838"/>
                <a:chOff x="365396" y="2020185"/>
                <a:chExt cx="1926220" cy="1873787"/>
              </a:xfrm>
            </p:grpSpPr>
            <p:sp>
              <p:nvSpPr>
                <p:cNvPr id="78" name="Кольцо 77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79" name="Кольцо 78"/>
                <p:cNvSpPr/>
                <p:nvPr/>
              </p:nvSpPr>
              <p:spPr bwMode="auto">
                <a:xfrm>
                  <a:off x="365396" y="2020185"/>
                  <a:ext cx="1926220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sp>
            <p:nvSpPr>
              <p:cNvPr id="76" name="Text Box 28"/>
              <p:cNvSpPr txBox="1"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95494" y="3656857"/>
                <a:ext cx="1970521" cy="7443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Доходы от использования имущества</a:t>
                </a:r>
                <a:endParaRPr lang="ru-RU" sz="11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7" name="Text Box 28"/>
              <p:cNvSpPr txBox="1"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86105" y="1546433"/>
                <a:ext cx="1226814" cy="6491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10,8</a:t>
                </a:r>
              </a:p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млн. руб.</a:t>
                </a:r>
                <a:endParaRPr lang="ru-RU" sz="1400" b="1" dirty="0">
                  <a:solidFill>
                    <a:srgbClr val="006600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84" name="Text Box 2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7366" y="6360461"/>
            <a:ext cx="6339744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ДОХОДЫ БЮДЖЕТА НА ДУШУ НАСЕЛЕНИЯ: </a:t>
            </a:r>
            <a:r>
              <a:rPr lang="ru-RU" sz="2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28,7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 тыс. рублей/чел.</a:t>
            </a:r>
            <a:endParaRPr lang="ru-RU" sz="14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80" name="Прямая соединительная линия 79"/>
          <p:cNvCxnSpPr/>
          <p:nvPr>
            <p:custDataLst>
              <p:tags r:id="rId14"/>
            </p:custDataLst>
          </p:nvPr>
        </p:nvCxnSpPr>
        <p:spPr bwMode="auto">
          <a:xfrm>
            <a:off x="6830757" y="1725816"/>
            <a:ext cx="14570" cy="2259733"/>
          </a:xfrm>
          <a:prstGeom prst="line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>
            <p:custDataLst>
              <p:tags r:id="rId15"/>
            </p:custDataLst>
          </p:nvPr>
        </p:nvCxnSpPr>
        <p:spPr bwMode="auto">
          <a:xfrm>
            <a:off x="6830757" y="3985549"/>
            <a:ext cx="2140651" cy="0"/>
          </a:xfrm>
          <a:prstGeom prst="line">
            <a:avLst/>
          </a:prstGeom>
          <a:ln>
            <a:prstDash val="dash"/>
            <a:headEnd type="oval" w="med" len="med"/>
            <a:tailEnd type="oval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01" name="Группа 100"/>
          <p:cNvGrpSpPr/>
          <p:nvPr>
            <p:custDataLst>
              <p:tags r:id="rId16"/>
            </p:custDataLst>
          </p:nvPr>
        </p:nvGrpSpPr>
        <p:grpSpPr>
          <a:xfrm>
            <a:off x="6830756" y="1854535"/>
            <a:ext cx="2341883" cy="1988561"/>
            <a:chOff x="-75714" y="1759356"/>
            <a:chExt cx="2889743" cy="2405838"/>
          </a:xfrm>
        </p:grpSpPr>
        <p:sp>
          <p:nvSpPr>
            <p:cNvPr id="105" name="Кольцо 104"/>
            <p:cNvSpPr/>
            <p:nvPr/>
          </p:nvSpPr>
          <p:spPr bwMode="auto">
            <a:xfrm>
              <a:off x="84168" y="1759356"/>
              <a:ext cx="2541180" cy="2405838"/>
            </a:xfrm>
            <a:prstGeom prst="donut">
              <a:avLst>
                <a:gd name="adj" fmla="val 1613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3" name="Text Box 28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-75714" y="2098154"/>
              <a:ext cx="2889743" cy="392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500" b="1" dirty="0" smtClean="0">
                  <a:solidFill>
                    <a:srgbClr val="C00000"/>
                  </a:solidFill>
                  <a:latin typeface="Arial" charset="0"/>
                  <a:cs typeface="Arial" charset="0"/>
                </a:rPr>
                <a:t>356,6 млн. руб. (49,9%)</a:t>
              </a:r>
              <a:endParaRPr lang="ru-RU" sz="1500" b="1" dirty="0">
                <a:solidFill>
                  <a:srgbClr val="C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0" name="Text Box 28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020634" y="1642629"/>
            <a:ext cx="1799848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БЕЗВОМЕЗДНЫЕ </a:t>
            </a:r>
            <a:b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</a:b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ПОСТУПЛЕНИЯ</a:t>
            </a:r>
            <a:endParaRPr lang="ru-RU" sz="14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91" name="TextBox 16"/>
          <p:cNvSpPr txBox="1">
            <a:spLocks noChangeArrowheads="1"/>
          </p:cNvSpPr>
          <p:nvPr/>
        </p:nvSpPr>
        <p:spPr bwMode="auto">
          <a:xfrm>
            <a:off x="156213" y="178824"/>
            <a:ext cx="888768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26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Доходы </a:t>
            </a:r>
            <a:r>
              <a:rPr lang="ru-RU" sz="26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бюджета </a:t>
            </a:r>
            <a:r>
              <a:rPr lang="ru-RU" sz="2600" dirty="0" err="1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Лихославльского</a:t>
            </a:r>
            <a:r>
              <a:rPr lang="ru-RU" sz="26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 муниципального округа </a:t>
            </a:r>
            <a:r>
              <a:rPr lang="ru-RU" sz="26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26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                      						Прогноз </a:t>
            </a:r>
            <a:r>
              <a:rPr lang="ru-RU" sz="26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на </a:t>
            </a:r>
            <a:r>
              <a:rPr lang="ru-RU" sz="26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2022 </a:t>
            </a:r>
            <a:r>
              <a:rPr lang="ru-RU" sz="26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год</a:t>
            </a:r>
          </a:p>
        </p:txBody>
      </p:sp>
      <p:grpSp>
        <p:nvGrpSpPr>
          <p:cNvPr id="56" name="Группа 55"/>
          <p:cNvGrpSpPr/>
          <p:nvPr>
            <p:custDataLst>
              <p:tags r:id="rId18"/>
            </p:custDataLst>
          </p:nvPr>
        </p:nvGrpSpPr>
        <p:grpSpPr>
          <a:xfrm>
            <a:off x="66393" y="4013889"/>
            <a:ext cx="2030231" cy="2049732"/>
            <a:chOff x="1668266" y="4189289"/>
            <a:chExt cx="2541180" cy="2537552"/>
          </a:xfrm>
        </p:grpSpPr>
        <p:pic>
          <p:nvPicPr>
            <p:cNvPr id="55" name="Рисунок 54"/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5935" y="5052711"/>
              <a:ext cx="1425105" cy="1020419"/>
            </a:xfrm>
            <a:prstGeom prst="rect">
              <a:avLst/>
            </a:prstGeom>
          </p:spPr>
        </p:pic>
        <p:grpSp>
          <p:nvGrpSpPr>
            <p:cNvPr id="58" name="Группа 57"/>
            <p:cNvGrpSpPr/>
            <p:nvPr>
              <p:custDataLst>
                <p:tags r:id="rId29"/>
              </p:custDataLst>
            </p:nvPr>
          </p:nvGrpSpPr>
          <p:grpSpPr>
            <a:xfrm>
              <a:off x="1668266" y="4189289"/>
              <a:ext cx="2541180" cy="2537552"/>
              <a:chOff x="84168" y="1627642"/>
              <a:chExt cx="2541180" cy="2537552"/>
            </a:xfrm>
          </p:grpSpPr>
          <p:grpSp>
            <p:nvGrpSpPr>
              <p:cNvPr id="59" name="Группа 58"/>
              <p:cNvGrpSpPr/>
              <p:nvPr>
                <p:custDataLst>
                  <p:tags r:id="rId30"/>
                </p:custDataLst>
              </p:nvPr>
            </p:nvGrpSpPr>
            <p:grpSpPr>
              <a:xfrm>
                <a:off x="84168" y="1759356"/>
                <a:ext cx="2541180" cy="2405838"/>
                <a:chOff x="365396" y="2020185"/>
                <a:chExt cx="1926220" cy="1873787"/>
              </a:xfrm>
            </p:grpSpPr>
            <p:sp>
              <p:nvSpPr>
                <p:cNvPr id="62" name="Кольцо 61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63" name="Кольцо 62"/>
                <p:cNvSpPr/>
                <p:nvPr/>
              </p:nvSpPr>
              <p:spPr bwMode="auto">
                <a:xfrm>
                  <a:off x="365396" y="2020185"/>
                  <a:ext cx="1926220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  <p:sp>
            <p:nvSpPr>
              <p:cNvPr id="60" name="Text Box 28"/>
              <p:cNvSpPr txBox="1"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729175" y="3678032"/>
                <a:ext cx="1251206" cy="3252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dirty="0" smtClean="0">
                    <a:solidFill>
                      <a:srgbClr val="000000"/>
                    </a:solidFill>
                    <a:latin typeface="Arial" charset="0"/>
                    <a:cs typeface="Arial" charset="0"/>
                  </a:rPr>
                  <a:t>Госпошлина</a:t>
                </a:r>
                <a:endParaRPr lang="ru-RU" sz="11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61" name="Text Box 28"/>
              <p:cNvSpPr txBox="1"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23619" y="1627642"/>
                <a:ext cx="1262281" cy="649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549" tIns="46276" rIns="92549" bIns="46276">
                <a:spAutoFit/>
              </a:bodyPr>
              <a:lstStyle>
                <a:lvl1pPr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1pPr>
                <a:lvl2pPr marL="742950" indent="-28575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2pPr>
                <a:lvl3pPr marL="11430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3pPr>
                <a:lvl4pPr marL="1598613" indent="-227013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2057400" indent="-228600" defTabSz="1028700" eaLnBrk="0" hangingPunct="0"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5146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9718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4290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886200" indent="-228600" defTabSz="10287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7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3,0</a:t>
                </a:r>
              </a:p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400" b="1" dirty="0" smtClean="0">
                    <a:solidFill>
                      <a:srgbClr val="006600"/>
                    </a:solidFill>
                    <a:latin typeface="Arial" charset="0"/>
                    <a:cs typeface="Arial" charset="0"/>
                  </a:rPr>
                  <a:t>млн. руб.</a:t>
                </a:r>
                <a:endParaRPr lang="ru-RU" sz="1400" b="1" dirty="0">
                  <a:solidFill>
                    <a:srgbClr val="006600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3" t="1" b="7846"/>
          <a:stretch/>
        </p:blipFill>
        <p:spPr>
          <a:xfrm>
            <a:off x="3760074" y="2232347"/>
            <a:ext cx="1217178" cy="1151893"/>
          </a:xfrm>
          <a:prstGeom prst="ellipse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5" r="11042"/>
          <a:stretch/>
        </p:blipFill>
        <p:spPr>
          <a:xfrm>
            <a:off x="3805956" y="4490227"/>
            <a:ext cx="1142678" cy="1147876"/>
          </a:xfrm>
          <a:prstGeom prst="ellipse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1" r="5934"/>
          <a:stretch/>
        </p:blipFill>
        <p:spPr>
          <a:xfrm>
            <a:off x="457512" y="2202628"/>
            <a:ext cx="1204860" cy="1165474"/>
          </a:xfrm>
          <a:prstGeom prst="ellipse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94"/>
          <a:stretch/>
        </p:blipFill>
        <p:spPr>
          <a:xfrm>
            <a:off x="5404595" y="2329780"/>
            <a:ext cx="1160842" cy="1102612"/>
          </a:xfrm>
          <a:prstGeom prst="ellipse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5" b="2805"/>
          <a:stretch/>
        </p:blipFill>
        <p:spPr>
          <a:xfrm>
            <a:off x="7325107" y="2572065"/>
            <a:ext cx="1273849" cy="1211124"/>
          </a:xfrm>
          <a:prstGeom prst="ellipse">
            <a:avLst/>
          </a:prstGeom>
        </p:spPr>
      </p:pic>
      <p:grpSp>
        <p:nvGrpSpPr>
          <p:cNvPr id="106" name="Группа 105"/>
          <p:cNvGrpSpPr/>
          <p:nvPr>
            <p:custDataLst>
              <p:tags r:id="rId19"/>
            </p:custDataLst>
          </p:nvPr>
        </p:nvGrpSpPr>
        <p:grpSpPr>
          <a:xfrm>
            <a:off x="6865092" y="4135993"/>
            <a:ext cx="2329365" cy="1977724"/>
            <a:chOff x="-67883" y="1716787"/>
            <a:chExt cx="2977893" cy="2448407"/>
          </a:xfrm>
        </p:grpSpPr>
        <p:sp>
          <p:nvSpPr>
            <p:cNvPr id="113" name="Кольцо 112"/>
            <p:cNvSpPr/>
            <p:nvPr/>
          </p:nvSpPr>
          <p:spPr bwMode="auto">
            <a:xfrm>
              <a:off x="84166" y="1759357"/>
              <a:ext cx="2541182" cy="2405837"/>
            </a:xfrm>
            <a:prstGeom prst="donut">
              <a:avLst>
                <a:gd name="adj" fmla="val 16139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8" name="Text Box 28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-67883" y="3603750"/>
              <a:ext cx="2977893" cy="3252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Штрафы</a:t>
              </a:r>
              <a:endParaRPr lang="ru-RU" sz="11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Text Box 28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10133" y="1716787"/>
              <a:ext cx="1289251" cy="649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0,6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млн. руб.</a:t>
              </a:r>
              <a:endParaRPr lang="ru-RU" sz="1400" b="1" dirty="0">
                <a:solidFill>
                  <a:srgbClr val="0066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14" name="Группа 113"/>
          <p:cNvGrpSpPr/>
          <p:nvPr>
            <p:custDataLst>
              <p:tags r:id="rId20"/>
            </p:custDataLst>
          </p:nvPr>
        </p:nvGrpSpPr>
        <p:grpSpPr>
          <a:xfrm>
            <a:off x="5041932" y="4072383"/>
            <a:ext cx="2329365" cy="2044594"/>
            <a:chOff x="-67883" y="1634002"/>
            <a:chExt cx="2977893" cy="2531192"/>
          </a:xfrm>
        </p:grpSpPr>
        <p:grpSp>
          <p:nvGrpSpPr>
            <p:cNvPr id="115" name="Группа 114"/>
            <p:cNvGrpSpPr/>
            <p:nvPr>
              <p:custDataLst>
                <p:tags r:id="rId21"/>
              </p:custDataLst>
            </p:nvPr>
          </p:nvGrpSpPr>
          <p:grpSpPr>
            <a:xfrm>
              <a:off x="84167" y="1759356"/>
              <a:ext cx="2541181" cy="2405838"/>
              <a:chOff x="255180" y="1879084"/>
              <a:chExt cx="2541181" cy="2405838"/>
            </a:xfrm>
          </p:grpSpPr>
          <p:pic>
            <p:nvPicPr>
              <p:cNvPr id="118" name="Рисунок 117"/>
              <p:cNvPicPr>
                <a:picLocks noChangeAspect="1"/>
              </p:cNvPicPr>
              <p:nvPr>
                <p:custDataLst>
                  <p:tags r:id="rId24"/>
                </p:custDataLst>
              </p:nvPr>
            </p:nvPicPr>
            <p:blipFill>
              <a:blip r:embed="rId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8945" y="2360858"/>
                <a:ext cx="1951753" cy="1403067"/>
              </a:xfrm>
              <a:prstGeom prst="rect">
                <a:avLst/>
              </a:prstGeom>
            </p:spPr>
          </p:pic>
          <p:grpSp>
            <p:nvGrpSpPr>
              <p:cNvPr id="119" name="Группа 118"/>
              <p:cNvGrpSpPr/>
              <p:nvPr>
                <p:custDataLst>
                  <p:tags r:id="rId25"/>
                </p:custDataLst>
              </p:nvPr>
            </p:nvGrpSpPr>
            <p:grpSpPr>
              <a:xfrm>
                <a:off x="255180" y="1879084"/>
                <a:ext cx="2541181" cy="2405838"/>
                <a:chOff x="365395" y="2020185"/>
                <a:chExt cx="1926221" cy="1873787"/>
              </a:xfrm>
            </p:grpSpPr>
            <p:sp>
              <p:nvSpPr>
                <p:cNvPr id="120" name="Кольцо 119"/>
                <p:cNvSpPr/>
                <p:nvPr/>
              </p:nvSpPr>
              <p:spPr bwMode="auto">
                <a:xfrm>
                  <a:off x="552893" y="2147777"/>
                  <a:ext cx="1552354" cy="1552353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21" name="Кольцо 120"/>
                <p:cNvSpPr/>
                <p:nvPr/>
              </p:nvSpPr>
              <p:spPr bwMode="auto">
                <a:xfrm>
                  <a:off x="365395" y="2020185"/>
                  <a:ext cx="1926221" cy="1873787"/>
                </a:xfrm>
                <a:prstGeom prst="donut">
                  <a:avLst>
                    <a:gd name="adj" fmla="val 16139"/>
                  </a:avLst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r" defTabSz="912813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sp>
          <p:nvSpPr>
            <p:cNvPr id="116" name="Text Box 28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-67883" y="3603750"/>
              <a:ext cx="2977893" cy="3252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Продажа имущества и земли</a:t>
              </a:r>
              <a:endParaRPr lang="ru-RU" sz="11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Text Box 28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710130" y="1634002"/>
              <a:ext cx="1289251" cy="649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549" tIns="46276" rIns="92549" bIns="46276">
              <a:spAutoFit/>
            </a:bodyPr>
            <a:lstStyle>
              <a:lvl1pPr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598613" indent="-227013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10287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10287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25,8</a:t>
              </a: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006600"/>
                  </a:solidFill>
                  <a:latin typeface="Arial" charset="0"/>
                  <a:cs typeface="Arial" charset="0"/>
                </a:rPr>
                <a:t>млн. руб.</a:t>
              </a:r>
              <a:endParaRPr lang="ru-RU" sz="1400" b="1" dirty="0">
                <a:solidFill>
                  <a:srgbClr val="006600"/>
                </a:solidFill>
                <a:latin typeface="Arial" charset="0"/>
                <a:cs typeface="Arial" charset="0"/>
              </a:endParaRPr>
            </a:p>
          </p:txBody>
        </p:sp>
      </p:grpSp>
      <p:pic>
        <p:nvPicPr>
          <p:cNvPr id="32314" name="Picture 570" descr="C:\Users\1\Desktop\arest-imushestva1-250x166.jpg"/>
          <p:cNvPicPr>
            <a:picLocks noChangeAspect="1" noChangeArrowheads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4102" y="4582098"/>
            <a:ext cx="1556061" cy="108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315" name="Picture 571" descr="C:\Users\1\Desktop\143464.jpg"/>
          <p:cNvPicPr>
            <a:picLocks noChangeAspect="1" noChangeArrowheads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84" y="4499353"/>
            <a:ext cx="1156411" cy="115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317" name="Picture 573" descr="http://probeg.com/wp-content/uploads/2013/07/fcc40ca5dadcfad6a7b34669564b05bd-1.jpg"/>
          <p:cNvPicPr>
            <a:picLocks noChangeAspect="1" noChangeArrowheads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407" y="4618890"/>
            <a:ext cx="1377001" cy="91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318" name="Picture 574" descr="C:\Users\1\Desktop\ben.jpg"/>
          <p:cNvPicPr>
            <a:picLocks noChangeAspect="1" noChangeArrowheads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763" y="2373156"/>
            <a:ext cx="1319069" cy="82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776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440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1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4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2626" name="pg num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010727" y="6661415"/>
            <a:ext cx="1902611" cy="18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A6F0202-0ED0-4208-A8AC-BED347C65DBC}" type="slidenum">
              <a:rPr lang="en-US" sz="1200" b="1">
                <a:solidFill>
                  <a:srgbClr val="FFFFFF"/>
                </a:solidFill>
                <a:latin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b="1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82627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2197" y="1041579"/>
            <a:ext cx="5147623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0000"/>
                </a:solidFill>
                <a:latin typeface="Arial" charset="0"/>
                <a:cs typeface="Arial" charset="0"/>
              </a:rPr>
              <a:t>РАСХОДЫ БЮДЖЕТА: </a:t>
            </a:r>
            <a:r>
              <a:rPr lang="ru-RU" sz="2800" b="1" dirty="0">
                <a:solidFill>
                  <a:srgbClr val="000000"/>
                </a:solidFill>
                <a:latin typeface="Arial" charset="0"/>
                <a:cs typeface="Arial" charset="0"/>
              </a:rPr>
              <a:t>701,5</a:t>
            </a:r>
            <a:r>
              <a:rPr lang="ru-RU" sz="1800" b="1" dirty="0">
                <a:solidFill>
                  <a:srgbClr val="000000"/>
                </a:solidFill>
                <a:latin typeface="Arial" charset="0"/>
                <a:cs typeface="Arial" charset="0"/>
              </a:rPr>
              <a:t> млн. рублей</a:t>
            </a:r>
          </a:p>
        </p:txBody>
      </p:sp>
      <p:sp>
        <p:nvSpPr>
          <p:cNvPr id="282632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24128" y="907898"/>
            <a:ext cx="634886" cy="408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207" tIns="50106" rIns="100207" bIns="50106">
            <a:spAutoFit/>
          </a:bodyPr>
          <a:lstStyle/>
          <a:p>
            <a:pPr defTabSz="1006686"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srgbClr val="000000"/>
              </a:solidFill>
            </a:endParaRPr>
          </a:p>
        </p:txBody>
      </p:sp>
      <p:sp>
        <p:nvSpPr>
          <p:cNvPr id="8" name="Text Box 2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49961" y="2109846"/>
            <a:ext cx="1799456" cy="117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latin typeface="Arial" charset="0"/>
                <a:cs typeface="Arial" charset="0"/>
              </a:rPr>
              <a:t>Расходы на социальную сферу</a:t>
            </a:r>
            <a:r>
              <a:rPr lang="en-US" sz="1400" b="1" dirty="0" smtClean="0">
                <a:latin typeface="Arial" charset="0"/>
                <a:cs typeface="Arial" charset="0"/>
              </a:rPr>
              <a:t> </a:t>
            </a:r>
            <a:endParaRPr lang="ru-RU" sz="1400" b="1" dirty="0" smtClean="0">
              <a:latin typeface="Arial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latin typeface="Arial" charset="0"/>
                <a:cs typeface="Arial" charset="0"/>
              </a:rPr>
              <a:t>506,9 млн. рублей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latin typeface="Arial" charset="0"/>
                <a:cs typeface="Arial" charset="0"/>
              </a:rPr>
              <a:t>(72,3%)</a:t>
            </a:r>
            <a:endParaRPr lang="ru-RU" sz="1400" b="1" dirty="0">
              <a:latin typeface="Arial" charset="0"/>
              <a:cs typeface="Arial" charset="0"/>
            </a:endParaRPr>
          </a:p>
        </p:txBody>
      </p:sp>
      <p:sp>
        <p:nvSpPr>
          <p:cNvPr id="91" name="TextBox 16"/>
          <p:cNvSpPr txBox="1">
            <a:spLocks noChangeArrowheads="1"/>
          </p:cNvSpPr>
          <p:nvPr/>
        </p:nvSpPr>
        <p:spPr bwMode="auto">
          <a:xfrm>
            <a:off x="80572" y="164904"/>
            <a:ext cx="89157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r"/>
            <a:r>
              <a:rPr lang="ru-RU" sz="2600" dirty="0" smtClean="0">
                <a:solidFill>
                  <a:prstClr val="white"/>
                </a:solidFill>
                <a:latin typeface="Calibri" pitchFamily="34" charset="0"/>
                <a:cs typeface="Arial" pitchFamily="34" charset="0"/>
              </a:rPr>
              <a:t>Расходы бюджета Лихославльского </a:t>
            </a:r>
            <a:r>
              <a:rPr lang="ru-RU" sz="26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муниципального округа</a:t>
            </a:r>
            <a:r>
              <a:rPr lang="ru-RU" sz="2600" dirty="0" smtClean="0">
                <a:solidFill>
                  <a:prstClr val="white"/>
                </a:solidFill>
                <a:latin typeface="Calibri" pitchFamily="34" charset="0"/>
                <a:cs typeface="Arial" pitchFamily="34" charset="0"/>
              </a:rPr>
              <a:t>  </a:t>
            </a:r>
            <a:endParaRPr lang="ru-RU" sz="2600" dirty="0">
              <a:solidFill>
                <a:prstClr val="white"/>
              </a:solidFill>
              <a:latin typeface="Calibri" pitchFamily="34" charset="0"/>
              <a:cs typeface="Arial" pitchFamily="34" charset="0"/>
            </a:endParaRPr>
          </a:p>
          <a:p>
            <a:pPr algn="r"/>
            <a:r>
              <a:rPr lang="ru-RU" sz="2600" dirty="0">
                <a:solidFill>
                  <a:prstClr val="white"/>
                </a:solidFill>
                <a:latin typeface="Calibri" pitchFamily="34" charset="0"/>
                <a:cs typeface="Arial" pitchFamily="34" charset="0"/>
              </a:rPr>
              <a:t>Прогноз на </a:t>
            </a:r>
            <a:r>
              <a:rPr lang="ru-RU" sz="2600" dirty="0" smtClean="0">
                <a:solidFill>
                  <a:prstClr val="white"/>
                </a:solidFill>
                <a:latin typeface="Calibri" pitchFamily="34" charset="0"/>
                <a:cs typeface="Arial" pitchFamily="34" charset="0"/>
              </a:rPr>
              <a:t>2022 </a:t>
            </a:r>
            <a:r>
              <a:rPr lang="ru-RU" sz="2600" dirty="0">
                <a:solidFill>
                  <a:prstClr val="white"/>
                </a:solidFill>
                <a:latin typeface="Calibri" pitchFamily="34" charset="0"/>
                <a:cs typeface="Arial" pitchFamily="34" charset="0"/>
              </a:rPr>
              <a:t>год</a:t>
            </a:r>
          </a:p>
        </p:txBody>
      </p:sp>
      <p:pic>
        <p:nvPicPr>
          <p:cNvPr id="129" name="Рисунок 128" descr="http://im1-tub-ru.yandex.net/i?id=fc94efb7637b7e33f0b3b95948bf047e-99-144&amp;n=21">
            <a:hlinkClick r:id="rId30"/>
          </p:cNvPr>
          <p:cNvPicPr/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2204864"/>
            <a:ext cx="1044677" cy="1024694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2" name="Рисунок 131" descr="http://im2-tub-ru.yandex.net/i?id=7c5929481a4ec6e21cf558dce348393a-26-144&amp;n=21">
            <a:hlinkClick r:id="rId32"/>
          </p:cNvPr>
          <p:cNvPicPr/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2204864"/>
            <a:ext cx="1085064" cy="1000621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3" name="Рисунок 132" descr="http://im2-tub-ru.yandex.net/i?id=141fa69e92d8d4abdbfbfefc1f60d275-82-144&amp;n=21">
            <a:hlinkClick r:id="rId34"/>
          </p:cNvPr>
          <p:cNvPicPr/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648" y="2212820"/>
            <a:ext cx="1018437" cy="965199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4" name="Рисунок 133" descr="http://im2-tub-ru.yandex.net/i?id=29eb4dbd139c504b0f8a63da8b029401-09-144&amp;n=21">
            <a:hlinkClick r:id="rId36"/>
          </p:cNvPr>
          <p:cNvPicPr/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007" y="4877692"/>
            <a:ext cx="1107564" cy="1044088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5" name="Рисунок 134" descr="http://im1-tub-ru.yandex.net/i?id=f72857ce7af277b1e4b2a12e08740b78-122-144&amp;n=21">
            <a:hlinkClick r:id="rId38"/>
          </p:cNvPr>
          <p:cNvPicPr/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844" y="4874409"/>
            <a:ext cx="1057262" cy="1029602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36" name="Рисунок 135" descr="http://im3-tub-ru.yandex.net/i?id=cb0792cad67f09583ba3e037d9686195-54-144&amp;n=21">
            <a:hlinkClick r:id="rId40"/>
          </p:cNvPr>
          <p:cNvPicPr/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9417" y="4877692"/>
            <a:ext cx="1110087" cy="1029241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8" name="Рисунок 137" descr="http://im3-tub-ru.yandex.net/i?id=65696dfc4e69213f000c0049ea2708d7-00-144&amp;n=21">
            <a:hlinkClick r:id="rId42"/>
          </p:cNvPr>
          <p:cNvPicPr/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247" y="4899512"/>
            <a:ext cx="1063463" cy="1038842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39" name="Рисунок 138" descr="Бюджетный комитет одобрил главный финансовый документ Иркутской области::Байкал24.Законодатель"/>
          <p:cNvPicPr/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944" y="4908982"/>
            <a:ext cx="986587" cy="954286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9554" y="2186231"/>
            <a:ext cx="1032704" cy="997463"/>
          </a:xfrm>
          <a:prstGeom prst="ellipse">
            <a:avLst/>
          </a:prstGeom>
        </p:spPr>
      </p:pic>
      <p:sp>
        <p:nvSpPr>
          <p:cNvPr id="80" name="Text Box 2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95735" y="1582842"/>
            <a:ext cx="1020546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408,3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1" name="Text Box 2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23728" y="3284984"/>
            <a:ext cx="1198483" cy="278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бразование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2" name="Text Box 2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80209" y="1587448"/>
            <a:ext cx="1020546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65,6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</p:txBody>
      </p:sp>
      <p:sp>
        <p:nvSpPr>
          <p:cNvPr id="84" name="Text Box 2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24128" y="3356992"/>
            <a:ext cx="1383799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ультура,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инематография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8" name="Text Box 2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95475" y="1609528"/>
            <a:ext cx="1020546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17,1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89" name="Text Box 2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851920" y="3284984"/>
            <a:ext cx="1395469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оциальная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политика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0" name="Text Box 2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865249" y="1556792"/>
            <a:ext cx="1020546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15,9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</p:txBody>
      </p:sp>
      <p:sp>
        <p:nvSpPr>
          <p:cNvPr id="92" name="Text Box 2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350193" y="3349377"/>
            <a:ext cx="1887851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изическая культур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latin typeface="Arial" charset="0"/>
                <a:cs typeface="Arial" charset="0"/>
              </a:rPr>
              <a:t>и</a:t>
            </a: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спорт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3" name="Text Box 2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04048" y="4221088"/>
            <a:ext cx="1007191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66,4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94" name="Text Box 28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585869" y="6052327"/>
            <a:ext cx="1829215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бщегосударственны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вопросы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5" name="Text Box 28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79712" y="4221088"/>
            <a:ext cx="1007191" cy="662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83,8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900" b="1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96" name="Text Box 2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811882" y="6031390"/>
            <a:ext cx="1278551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ациональная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экономика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7" name="Text Box 2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491880" y="4221088"/>
            <a:ext cx="1007191" cy="878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37,1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900" b="1" dirty="0">
              <a:solidFill>
                <a:srgbClr val="006600"/>
              </a:solidFill>
              <a:latin typeface="Arial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98" name="Text Box 28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480052" y="6057059"/>
            <a:ext cx="1063464" cy="278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ЖКХ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0" name="Text Box 2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588224" y="4221088"/>
            <a:ext cx="1007191" cy="52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0,003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</p:txBody>
      </p:sp>
      <p:sp>
        <p:nvSpPr>
          <p:cNvPr id="101" name="Text Box 2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068915" y="5982891"/>
            <a:ext cx="2087552" cy="647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бслуживани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latin typeface="Arial" charset="0"/>
                <a:cs typeface="Arial" charset="0"/>
              </a:rPr>
              <a:t>м</a:t>
            </a: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униципального                                                                      долга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" name="Text Box 28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956376" y="4221088"/>
            <a:ext cx="1007191" cy="955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7,3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млн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6600"/>
              </a:solidFill>
              <a:latin typeface="Arial" charset="0"/>
              <a:cs typeface="Arial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103" name="Text Box 28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745956" y="6046444"/>
            <a:ext cx="1506564" cy="278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Прочие расходы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4" name="Text Box 2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23528" y="6405345"/>
            <a:ext cx="6452532" cy="46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РАСХОДЫ БЮДЖЕТА НА ДУШУ НАСЕЛЕНИЯ: </a:t>
            </a:r>
            <a:r>
              <a:rPr lang="ru-RU" sz="2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24,8</a:t>
            </a:r>
            <a:r>
              <a:rPr lang="ru-RU" sz="20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тыс. рублей/чел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.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43" name="Text Box 2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27846" y="4855608"/>
            <a:ext cx="1707850" cy="117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latin typeface="Arial" charset="0"/>
                <a:cs typeface="Arial" charset="0"/>
              </a:rPr>
              <a:t>Расходы на  прочие отрасл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latin typeface="Arial" charset="0"/>
                <a:cs typeface="Arial" charset="0"/>
              </a:rPr>
              <a:t> </a:t>
            </a:r>
            <a:r>
              <a:rPr lang="ru-RU" sz="1400" b="1" dirty="0" smtClean="0">
                <a:latin typeface="Arial" charset="0"/>
                <a:cs typeface="Arial" charset="0"/>
              </a:rPr>
              <a:t>194,6 млн. рублей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latin typeface="Arial" charset="0"/>
                <a:cs typeface="Arial" charset="0"/>
              </a:rPr>
              <a:t>(27,7%)</a:t>
            </a:r>
            <a:endParaRPr lang="ru-RU" sz="1400" b="1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74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36" name="TextBox 16"/>
          <p:cNvSpPr txBox="1">
            <a:spLocks noChangeArrowheads="1"/>
          </p:cNvSpPr>
          <p:nvPr/>
        </p:nvSpPr>
        <p:spPr bwMode="auto">
          <a:xfrm>
            <a:off x="0" y="144820"/>
            <a:ext cx="895359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r"/>
            <a:r>
              <a:rPr lang="ru-RU" sz="25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Основные характеристики </a:t>
            </a:r>
            <a:r>
              <a:rPr lang="ru-RU" sz="25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бюджета Лихославльского </a:t>
            </a:r>
            <a:r>
              <a:rPr lang="ru-RU" sz="23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муниципального округа за 2019 </a:t>
            </a:r>
            <a:r>
              <a:rPr lang="ru-RU" sz="2300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23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2021 год </a:t>
            </a:r>
            <a:r>
              <a:rPr lang="ru-RU" sz="24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и</a:t>
            </a:r>
            <a:r>
              <a:rPr lang="ru-RU" sz="25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                                     прогноз на 2022 год</a:t>
            </a:r>
            <a:endParaRPr lang="ru-RU" sz="2500" dirty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58922" y="1287463"/>
            <a:ext cx="146050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1" tIns="45498" rIns="90991" bIns="45498">
            <a:spAutoFit/>
          </a:bodyPr>
          <a:lstStyle>
            <a:lvl1pPr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300" dirty="0" smtClean="0">
                <a:solidFill>
                  <a:srgbClr val="000000"/>
                </a:solidFill>
                <a:cs typeface="Arial" pitchFamily="34" charset="0"/>
              </a:rPr>
              <a:t>млн. руб.</a:t>
            </a:r>
            <a:endParaRPr lang="ru-RU" sz="13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3655050187"/>
              </p:ext>
            </p:extLst>
          </p:nvPr>
        </p:nvGraphicFramePr>
        <p:xfrm>
          <a:off x="177842" y="1358117"/>
          <a:ext cx="8892604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4" name="Прямая со стрелкой 3"/>
          <p:cNvCxnSpPr/>
          <p:nvPr/>
        </p:nvCxnSpPr>
        <p:spPr>
          <a:xfrm>
            <a:off x="2123728" y="2275636"/>
            <a:ext cx="717622" cy="145252"/>
          </a:xfrm>
          <a:prstGeom prst="straightConnector1">
            <a:avLst/>
          </a:prstGeom>
          <a:ln>
            <a:solidFill>
              <a:srgbClr val="44700E"/>
            </a:solidFill>
            <a:prstDash val="dash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V="1">
            <a:off x="4316330" y="2275636"/>
            <a:ext cx="720080" cy="72626"/>
          </a:xfrm>
          <a:prstGeom prst="straightConnector1">
            <a:avLst/>
          </a:prstGeom>
          <a:ln>
            <a:solidFill>
              <a:srgbClr val="44700E"/>
            </a:solidFill>
            <a:prstDash val="dash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6480294" y="2884500"/>
            <a:ext cx="539080" cy="504056"/>
          </a:xfrm>
          <a:prstGeom prst="straightConnector1">
            <a:avLst/>
          </a:prstGeom>
          <a:ln>
            <a:solidFill>
              <a:srgbClr val="44700E"/>
            </a:solidFill>
            <a:prstDash val="dash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6156176" y="3356992"/>
            <a:ext cx="593658" cy="453752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2123728" y="2708920"/>
            <a:ext cx="864096" cy="72008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V="1">
            <a:off x="4319100" y="2780928"/>
            <a:ext cx="752442" cy="72008"/>
          </a:xfrm>
          <a:prstGeom prst="straightConnector1">
            <a:avLst/>
          </a:prstGeom>
          <a:ln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9329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1035792"/>
              </p:ext>
            </p:extLst>
          </p:nvPr>
        </p:nvGraphicFramePr>
        <p:xfrm>
          <a:off x="233902" y="1424782"/>
          <a:ext cx="8604572" cy="5466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6036" name="TextBox 16"/>
          <p:cNvSpPr txBox="1">
            <a:spLocks noChangeArrowheads="1"/>
          </p:cNvSpPr>
          <p:nvPr/>
        </p:nvSpPr>
        <p:spPr bwMode="auto">
          <a:xfrm>
            <a:off x="233902" y="116632"/>
            <a:ext cx="829853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r"/>
            <a:r>
              <a:rPr lang="ru-RU" sz="28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Структура доходов бюджета Лихославльского </a:t>
            </a:r>
            <a:r>
              <a:rPr lang="ru-RU" sz="24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муниципального округа   на 2022 год</a:t>
            </a:r>
            <a:endParaRPr lang="ru-RU" sz="2400" dirty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77974" y="1124744"/>
            <a:ext cx="146050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1" tIns="45498" rIns="90991" bIns="45498">
            <a:spAutoFit/>
          </a:bodyPr>
          <a:lstStyle>
            <a:lvl1pPr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300" dirty="0" smtClean="0">
                <a:solidFill>
                  <a:srgbClr val="000000"/>
                </a:solidFill>
                <a:cs typeface="Arial" pitchFamily="34" charset="0"/>
              </a:rPr>
              <a:t>млн. руб.</a:t>
            </a:r>
            <a:endParaRPr lang="ru-RU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63888" y="3554934"/>
            <a:ext cx="237626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14,4</a:t>
            </a:r>
            <a:r>
              <a:rPr lang="en-US" sz="3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рублей</a:t>
            </a:r>
            <a:endParaRPr lang="ru-RU" sz="3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37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6323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" name="think-cell Slide" r:id="rId52" imgW="360" imgH="360" progId="">
                  <p:embed/>
                </p:oleObj>
              </mc:Choice>
              <mc:Fallback>
                <p:oleObj name="think-cell Slide" r:id="rId52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86036" name="TextBox 1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1520" y="188640"/>
            <a:ext cx="863902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r"/>
            <a:r>
              <a:rPr lang="ru-RU" sz="28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Динамика доходов бюджета </a:t>
            </a:r>
            <a:r>
              <a:rPr lang="ru-RU" sz="2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хославльского</a:t>
            </a:r>
            <a:r>
              <a:rPr lang="ru-RU" sz="28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2400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муниципального округа </a:t>
            </a:r>
            <a:endParaRPr lang="ru-RU" sz="2400" dirty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" name="Text 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430294" y="1037025"/>
            <a:ext cx="1460500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1" tIns="45498" rIns="90991" bIns="45498">
            <a:spAutoFit/>
          </a:bodyPr>
          <a:lstStyle>
            <a:lvl1pPr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48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48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ru-RU" sz="1300" dirty="0" smtClean="0">
                <a:solidFill>
                  <a:srgbClr val="000000"/>
                </a:solidFill>
                <a:cs typeface="Arial" pitchFamily="34" charset="0"/>
              </a:rPr>
              <a:t>млн. руб.</a:t>
            </a:r>
            <a:endParaRPr lang="ru-RU" sz="13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62" name="Object 523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789311"/>
              </p:ext>
            </p:extLst>
          </p:nvPr>
        </p:nvGraphicFramePr>
        <p:xfrm>
          <a:off x="413811" y="2296686"/>
          <a:ext cx="8323336" cy="335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86034" name="Прямоугольник 86033"/>
          <p:cNvSpPr/>
          <p:nvPr>
            <p:custDataLst>
              <p:tags r:id="rId7"/>
            </p:custDataLst>
          </p:nvPr>
        </p:nvSpPr>
        <p:spPr bwMode="gray">
          <a:xfrm>
            <a:off x="5462588" y="2667000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8"/>
            </p:custDataLst>
          </p:nvPr>
        </p:nvSpPr>
        <p:spPr bwMode="auto">
          <a:xfrm>
            <a:off x="4932040" y="5517232"/>
            <a:ext cx="847725" cy="425450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Trebuchet MS"/>
              </a:rPr>
              <a:t>ф</a:t>
            </a:r>
            <a:r>
              <a:rPr lang="ru-RU" sz="1400" dirty="0" smtClean="0">
                <a:solidFill>
                  <a:prstClr val="black"/>
                </a:solidFill>
                <a:sym typeface="Trebuchet MS"/>
              </a:rPr>
              <a:t>акт 2020</a:t>
            </a: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20" name="Прямоугольник 86019"/>
          <p:cNvSpPr/>
          <p:nvPr>
            <p:custDataLst>
              <p:tags r:id="rId9"/>
            </p:custDataLst>
          </p:nvPr>
        </p:nvSpPr>
        <p:spPr bwMode="auto">
          <a:xfrm>
            <a:off x="4457700" y="2295525"/>
            <a:ext cx="534988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48" name="Прямоугольник 86047"/>
          <p:cNvSpPr/>
          <p:nvPr>
            <p:custDataLst>
              <p:tags r:id="rId10"/>
            </p:custDataLst>
          </p:nvPr>
        </p:nvSpPr>
        <p:spPr bwMode="auto">
          <a:xfrm>
            <a:off x="5004048" y="2981325"/>
            <a:ext cx="432048" cy="519684"/>
          </a:xfrm>
          <a:prstGeom prst="rect">
            <a:avLst/>
          </a:prstGeom>
          <a:solidFill>
            <a:schemeClr val="accent5">
              <a:lumMod val="75000"/>
              <a:alpha val="0"/>
            </a:schemeClr>
          </a:solidFill>
          <a:ln w="1587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32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2,6</a:t>
            </a:r>
            <a:r>
              <a:rPr lang="en-US" sz="132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en-US" sz="132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</a:br>
            <a:endParaRPr lang="ru-RU" sz="1320" b="1" dirty="0">
              <a:solidFill>
                <a:prstClr val="black"/>
              </a:solidFill>
              <a:latin typeface="Calibri" pitchFamily="34" charset="0"/>
              <a:cs typeface="Calibri" pitchFamily="34" charset="0"/>
              <a:sym typeface="Trebuchet MS"/>
            </a:endParaRPr>
          </a:p>
        </p:txBody>
      </p:sp>
      <p:sp>
        <p:nvSpPr>
          <p:cNvPr id="86047" name="Прямоугольник 86046"/>
          <p:cNvSpPr/>
          <p:nvPr>
            <p:custDataLst>
              <p:tags r:id="rId11"/>
            </p:custDataLst>
          </p:nvPr>
        </p:nvSpPr>
        <p:spPr bwMode="auto">
          <a:xfrm>
            <a:off x="6948264" y="5589240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33" name="Прямоугольник 86032"/>
          <p:cNvSpPr/>
          <p:nvPr>
            <p:custDataLst>
              <p:tags r:id="rId12"/>
            </p:custDataLst>
          </p:nvPr>
        </p:nvSpPr>
        <p:spPr bwMode="gray">
          <a:xfrm>
            <a:off x="4557713" y="2633663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3"/>
            </p:custDataLst>
          </p:nvPr>
        </p:nvSpPr>
        <p:spPr bwMode="auto">
          <a:xfrm>
            <a:off x="3491880" y="5589240"/>
            <a:ext cx="84296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sym typeface="Trebuchet MS"/>
              </a:rPr>
              <a:t>Факт 2019</a:t>
            </a: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4"/>
            </p:custDataLst>
          </p:nvPr>
        </p:nvSpPr>
        <p:spPr bwMode="auto">
          <a:xfrm>
            <a:off x="3605213" y="2524125"/>
            <a:ext cx="43021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5"/>
            </p:custDataLst>
          </p:nvPr>
        </p:nvSpPr>
        <p:spPr bwMode="auto">
          <a:xfrm>
            <a:off x="7884368" y="5517232"/>
            <a:ext cx="657225" cy="425450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sym typeface="Trebuchet MS"/>
              </a:rPr>
              <a:t>Прогноз 2022</a:t>
            </a: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22" name="Прямоугольник 86021"/>
          <p:cNvSpPr/>
          <p:nvPr>
            <p:custDataLst>
              <p:tags r:id="rId16"/>
            </p:custDataLst>
          </p:nvPr>
        </p:nvSpPr>
        <p:spPr bwMode="auto">
          <a:xfrm>
            <a:off x="6262688" y="2247900"/>
            <a:ext cx="534988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55" name="Прямоугольник 86054"/>
          <p:cNvSpPr/>
          <p:nvPr>
            <p:custDataLst>
              <p:tags r:id="rId17"/>
            </p:custDataLst>
          </p:nvPr>
        </p:nvSpPr>
        <p:spPr bwMode="auto">
          <a:xfrm>
            <a:off x="6008220" y="5015096"/>
            <a:ext cx="403225" cy="3651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</a:rPr>
              <a:t/>
            </a:r>
            <a:br>
              <a:rPr lang="en-US" sz="1200" dirty="0" smtClean="0">
                <a:solidFill>
                  <a:prstClr val="black"/>
                </a:solidFill>
              </a:rPr>
            </a:b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54" name="Прямоугольник 86053"/>
          <p:cNvSpPr/>
          <p:nvPr>
            <p:custDataLst>
              <p:tags r:id="rId18"/>
            </p:custDataLst>
          </p:nvPr>
        </p:nvSpPr>
        <p:spPr bwMode="auto">
          <a:xfrm>
            <a:off x="6372200" y="2924944"/>
            <a:ext cx="403225" cy="3651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32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7,1</a:t>
            </a:r>
            <a:r>
              <a:rPr lang="en-US" sz="1200" dirty="0" smtClean="0">
                <a:solidFill>
                  <a:prstClr val="black"/>
                </a:solidFill>
              </a:rPr>
              <a:t/>
            </a:r>
            <a:br>
              <a:rPr lang="en-US" sz="1200" dirty="0" smtClean="0">
                <a:solidFill>
                  <a:prstClr val="black"/>
                </a:solidFill>
              </a:rPr>
            </a:b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21" name="Прямоугольник 86020"/>
          <p:cNvSpPr/>
          <p:nvPr>
            <p:custDataLst>
              <p:tags r:id="rId19"/>
            </p:custDataLst>
          </p:nvPr>
        </p:nvSpPr>
        <p:spPr bwMode="auto">
          <a:xfrm>
            <a:off x="5414963" y="2333625"/>
            <a:ext cx="43021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20"/>
            </p:custDataLst>
          </p:nvPr>
        </p:nvSpPr>
        <p:spPr bwMode="auto">
          <a:xfrm>
            <a:off x="6994151" y="5706128"/>
            <a:ext cx="657225" cy="425450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21"/>
            </p:custDataLst>
          </p:nvPr>
        </p:nvSpPr>
        <p:spPr bwMode="auto">
          <a:xfrm>
            <a:off x="6444208" y="5517232"/>
            <a:ext cx="657225" cy="425450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Trebuchet MS"/>
              </a:rPr>
              <a:t>о</a:t>
            </a:r>
            <a:r>
              <a:rPr lang="ru-RU" sz="1400" dirty="0" smtClean="0">
                <a:solidFill>
                  <a:prstClr val="black"/>
                </a:solidFill>
                <a:sym typeface="Trebuchet MS"/>
              </a:rPr>
              <a:t>ценка 2021</a:t>
            </a: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58" name="Прямоугольник 86057"/>
          <p:cNvSpPr/>
          <p:nvPr>
            <p:custDataLst>
              <p:tags r:id="rId22"/>
            </p:custDataLst>
          </p:nvPr>
        </p:nvSpPr>
        <p:spPr bwMode="auto">
          <a:xfrm>
            <a:off x="7027069" y="4968032"/>
            <a:ext cx="403225" cy="3651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</a:rPr>
              <a:t>       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31" name="Прямоугольник 86030"/>
          <p:cNvSpPr/>
          <p:nvPr>
            <p:custDataLst>
              <p:tags r:id="rId23"/>
            </p:custDataLst>
          </p:nvPr>
        </p:nvSpPr>
        <p:spPr bwMode="gray">
          <a:xfrm>
            <a:off x="7020272" y="3789040"/>
            <a:ext cx="403225" cy="3651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white"/>
                </a:solidFill>
              </a:rPr>
              <a:t>10,3</a:t>
            </a:r>
            <a:r>
              <a:rPr lang="en-US" sz="1200" dirty="0" smtClean="0">
                <a:solidFill>
                  <a:prstClr val="white"/>
                </a:solidFill>
              </a:rPr>
              <a:t/>
            </a:r>
            <a:br>
              <a:rPr lang="en-US" sz="1200" dirty="0" smtClean="0">
                <a:solidFill>
                  <a:prstClr val="white"/>
                </a:solidFill>
              </a:rPr>
            </a:br>
            <a:endParaRPr lang="ru-RU" sz="12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86057" name="Прямоугольник 86056"/>
          <p:cNvSpPr/>
          <p:nvPr>
            <p:custDataLst>
              <p:tags r:id="rId24"/>
            </p:custDataLst>
          </p:nvPr>
        </p:nvSpPr>
        <p:spPr bwMode="auto">
          <a:xfrm>
            <a:off x="7812360" y="2785250"/>
            <a:ext cx="403225" cy="378638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32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2,6</a:t>
            </a:r>
          </a:p>
        </p:txBody>
      </p:sp>
      <p:sp>
        <p:nvSpPr>
          <p:cNvPr id="86056" name="Прямоугольник 86055"/>
          <p:cNvSpPr/>
          <p:nvPr>
            <p:custDataLst>
              <p:tags r:id="rId25"/>
            </p:custDataLst>
          </p:nvPr>
        </p:nvSpPr>
        <p:spPr bwMode="auto">
          <a:xfrm>
            <a:off x="7262813" y="2981325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37" name="Прямоугольник 86036"/>
          <p:cNvSpPr/>
          <p:nvPr>
            <p:custDataLst>
              <p:tags r:id="rId26"/>
            </p:custDataLst>
          </p:nvPr>
        </p:nvSpPr>
        <p:spPr bwMode="gray">
          <a:xfrm>
            <a:off x="7262813" y="2614613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86023" name="Прямоугольник 86022"/>
          <p:cNvSpPr/>
          <p:nvPr>
            <p:custDataLst>
              <p:tags r:id="rId27"/>
            </p:custDataLst>
          </p:nvPr>
        </p:nvSpPr>
        <p:spPr bwMode="auto">
          <a:xfrm>
            <a:off x="7162800" y="2266950"/>
            <a:ext cx="534988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45" name="Прямоугольник 86044"/>
          <p:cNvSpPr/>
          <p:nvPr>
            <p:custDataLst>
              <p:tags r:id="rId28"/>
            </p:custDataLst>
          </p:nvPr>
        </p:nvSpPr>
        <p:spPr bwMode="auto">
          <a:xfrm>
            <a:off x="3707904" y="2852936"/>
            <a:ext cx="403225" cy="648073"/>
          </a:xfrm>
          <a:prstGeom prst="rect">
            <a:avLst/>
          </a:prstGeom>
          <a:solidFill>
            <a:schemeClr val="hlink">
              <a:alpha val="0"/>
            </a:schemeClr>
          </a:solidFill>
          <a:ln w="1587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32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8,2</a:t>
            </a: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en-US" sz="12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</a:br>
            <a:endParaRPr lang="ru-RU" sz="1200" b="1" dirty="0">
              <a:solidFill>
                <a:prstClr val="black"/>
              </a:solidFill>
              <a:latin typeface="Calibri" pitchFamily="34" charset="0"/>
              <a:cs typeface="Calibri" pitchFamily="34" charset="0"/>
              <a:sym typeface="Trebuchet MS"/>
            </a:endParaRPr>
          </a:p>
        </p:txBody>
      </p:sp>
      <p:sp>
        <p:nvSpPr>
          <p:cNvPr id="86044" name="Прямоугольник 86043"/>
          <p:cNvSpPr/>
          <p:nvPr>
            <p:custDataLst>
              <p:tags r:id="rId29"/>
            </p:custDataLst>
          </p:nvPr>
        </p:nvSpPr>
        <p:spPr bwMode="auto">
          <a:xfrm>
            <a:off x="3635896" y="3212976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30"/>
            </p:custDataLst>
          </p:nvPr>
        </p:nvSpPr>
        <p:spPr bwMode="gray">
          <a:xfrm>
            <a:off x="3652838" y="2857500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32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1"/>
            </p:custDataLst>
          </p:nvPr>
        </p:nvSpPr>
        <p:spPr bwMode="auto">
          <a:xfrm>
            <a:off x="2123728" y="5589240"/>
            <a:ext cx="84296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sym typeface="Trebuchet MS"/>
              </a:rPr>
              <a:t>Факт 2018</a:t>
            </a:r>
            <a:endParaRPr lang="ru-RU" sz="14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32"/>
            </p:custDataLst>
          </p:nvPr>
        </p:nvSpPr>
        <p:spPr bwMode="auto">
          <a:xfrm>
            <a:off x="2705100" y="2324100"/>
            <a:ext cx="43021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86041" name="Прямоугольник 86040"/>
          <p:cNvSpPr/>
          <p:nvPr>
            <p:custDataLst>
              <p:tags r:id="rId33"/>
            </p:custDataLst>
          </p:nvPr>
        </p:nvSpPr>
        <p:spPr bwMode="auto">
          <a:xfrm>
            <a:off x="2752725" y="3057525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4"/>
            </p:custDataLst>
          </p:nvPr>
        </p:nvSpPr>
        <p:spPr bwMode="auto">
          <a:xfrm>
            <a:off x="683568" y="5589240"/>
            <a:ext cx="84296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sym typeface="+mn-lt"/>
              </a:rPr>
              <a:t>Факт 2017</a:t>
            </a:r>
            <a:endParaRPr lang="ru-RU" sz="14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35"/>
            </p:custDataLst>
          </p:nvPr>
        </p:nvSpPr>
        <p:spPr bwMode="auto">
          <a:xfrm>
            <a:off x="1804988" y="2600325"/>
            <a:ext cx="43021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86025" name="Прямоугольник 86024"/>
          <p:cNvSpPr/>
          <p:nvPr>
            <p:custDataLst>
              <p:tags r:id="rId36"/>
            </p:custDataLst>
          </p:nvPr>
        </p:nvSpPr>
        <p:spPr bwMode="gray">
          <a:xfrm>
            <a:off x="1763688" y="4149080"/>
            <a:ext cx="403225" cy="3651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white"/>
                </a:solidFill>
              </a:rPr>
              <a:t>7,7</a:t>
            </a:r>
            <a:r>
              <a:rPr lang="en-US" sz="1200" dirty="0" smtClean="0">
                <a:solidFill>
                  <a:prstClr val="white"/>
                </a:solidFill>
              </a:rPr>
              <a:t/>
            </a:r>
            <a:br>
              <a:rPr lang="en-US" sz="1200" dirty="0" smtClean="0">
                <a:solidFill>
                  <a:prstClr val="white"/>
                </a:solidFill>
              </a:rPr>
            </a:br>
            <a:endParaRPr lang="ru-RU" sz="1200" dirty="0">
              <a:solidFill>
                <a:prstClr val="white"/>
              </a:solidFill>
              <a:sym typeface="Trebuchet MS"/>
            </a:endParaRPr>
          </a:p>
        </p:txBody>
      </p:sp>
      <p:sp>
        <p:nvSpPr>
          <p:cNvPr id="86039" name="Прямоугольник 86038"/>
          <p:cNvSpPr/>
          <p:nvPr>
            <p:custDataLst>
              <p:tags r:id="rId37"/>
            </p:custDataLst>
          </p:nvPr>
        </p:nvSpPr>
        <p:spPr bwMode="auto">
          <a:xfrm>
            <a:off x="2339752" y="3068960"/>
            <a:ext cx="323850" cy="365125"/>
          </a:xfrm>
          <a:prstGeom prst="rect">
            <a:avLst/>
          </a:prstGeom>
          <a:solidFill>
            <a:schemeClr val="hlink">
              <a:alpha val="0"/>
            </a:schemeClr>
          </a:solidFill>
          <a:ln w="1587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32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4,8</a:t>
            </a:r>
            <a:r>
              <a:rPr lang="en-US" sz="1320" dirty="0" smtClean="0">
                <a:solidFill>
                  <a:prstClr val="black"/>
                </a:solidFill>
              </a:rPr>
              <a:t/>
            </a:r>
            <a:br>
              <a:rPr lang="en-US" sz="1320" dirty="0" smtClean="0">
                <a:solidFill>
                  <a:prstClr val="black"/>
                </a:solidFill>
              </a:rPr>
            </a:br>
            <a:endParaRPr lang="ru-RU" sz="132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38" name="Прямоугольник 86037"/>
          <p:cNvSpPr/>
          <p:nvPr>
            <p:custDataLst>
              <p:tags r:id="rId38"/>
            </p:custDataLst>
          </p:nvPr>
        </p:nvSpPr>
        <p:spPr bwMode="auto">
          <a:xfrm>
            <a:off x="1852613" y="3367088"/>
            <a:ext cx="3349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59" name="Правая фигурная скобка 86058"/>
          <p:cNvSpPr/>
          <p:nvPr>
            <p:custDataLst>
              <p:tags r:id="rId39"/>
            </p:custDataLst>
          </p:nvPr>
        </p:nvSpPr>
        <p:spPr>
          <a:xfrm>
            <a:off x="8604448" y="2204864"/>
            <a:ext cx="160337" cy="3117289"/>
          </a:xfrm>
          <a:prstGeom prst="rightBrace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76" name="TextBox 75"/>
          <p:cNvSpPr txBox="1"/>
          <p:nvPr>
            <p:custDataLst>
              <p:tags r:id="rId40"/>
            </p:custDataLst>
          </p:nvPr>
        </p:nvSpPr>
        <p:spPr>
          <a:xfrm>
            <a:off x="8316416" y="4005064"/>
            <a:ext cx="574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9</a:t>
            </a:r>
            <a:r>
              <a:rPr lang="ru-RU" b="1" dirty="0" smtClean="0">
                <a:solidFill>
                  <a:prstClr val="black"/>
                </a:solidFill>
              </a:rPr>
              <a:t>%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86063" name="Прямоугольник 86062"/>
          <p:cNvSpPr/>
          <p:nvPr>
            <p:custDataLst>
              <p:tags r:id="rId41"/>
            </p:custDataLst>
          </p:nvPr>
        </p:nvSpPr>
        <p:spPr bwMode="auto">
          <a:xfrm>
            <a:off x="2590924" y="6021288"/>
            <a:ext cx="214312" cy="16033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6062" name="Прямоугольник 86061"/>
          <p:cNvSpPr/>
          <p:nvPr>
            <p:custDataLst>
              <p:tags r:id="rId42"/>
            </p:custDataLst>
          </p:nvPr>
        </p:nvSpPr>
        <p:spPr bwMode="auto">
          <a:xfrm>
            <a:off x="1475656" y="6021288"/>
            <a:ext cx="214312" cy="160337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6064" name="Прямоугольник 86063"/>
          <p:cNvSpPr/>
          <p:nvPr>
            <p:custDataLst>
              <p:tags r:id="rId43"/>
            </p:custDataLst>
          </p:nvPr>
        </p:nvSpPr>
        <p:spPr bwMode="auto">
          <a:xfrm>
            <a:off x="5076056" y="6021288"/>
            <a:ext cx="214312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6016" name="Прямоугольник 86015"/>
          <p:cNvSpPr/>
          <p:nvPr>
            <p:custDataLst>
              <p:tags r:id="rId44"/>
            </p:custDataLst>
          </p:nvPr>
        </p:nvSpPr>
        <p:spPr bwMode="auto">
          <a:xfrm>
            <a:off x="5436096" y="6021288"/>
            <a:ext cx="420688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sym typeface="Trebuchet MS"/>
              </a:rPr>
              <a:t>Продажа имущества и земли</a:t>
            </a: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86018" name="Прямоугольник 86017"/>
          <p:cNvSpPr/>
          <p:nvPr>
            <p:custDataLst>
              <p:tags r:id="rId45"/>
            </p:custDataLst>
          </p:nvPr>
        </p:nvSpPr>
        <p:spPr bwMode="auto">
          <a:xfrm>
            <a:off x="3182937" y="6021288"/>
            <a:ext cx="1274763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sym typeface="Trebuchet MS"/>
              </a:rPr>
              <a:t>Налоги на имущество</a:t>
            </a:r>
            <a:endParaRPr lang="ru-RU" sz="1200" dirty="0">
              <a:solidFill>
                <a:prstClr val="black"/>
              </a:solidFill>
              <a:sym typeface="Trebuchet MS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46"/>
            </p:custDataLst>
          </p:nvPr>
        </p:nvSpPr>
        <p:spPr bwMode="auto">
          <a:xfrm>
            <a:off x="1835696" y="6021288"/>
            <a:ext cx="936104" cy="182563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</a:rPr>
              <a:t>НДФЛ</a:t>
            </a:r>
            <a:endParaRPr lang="ru-RU" sz="12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82" name="Правая фигурная скобка 81"/>
          <p:cNvSpPr/>
          <p:nvPr>
            <p:custDataLst>
              <p:tags r:id="rId47"/>
            </p:custDataLst>
          </p:nvPr>
        </p:nvSpPr>
        <p:spPr>
          <a:xfrm flipH="1">
            <a:off x="395536" y="2276872"/>
            <a:ext cx="189755" cy="3068357"/>
          </a:xfrm>
          <a:prstGeom prst="rightBrace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83" name="TextBox 82"/>
          <p:cNvSpPr txBox="1"/>
          <p:nvPr>
            <p:custDataLst>
              <p:tags r:id="rId48"/>
            </p:custDataLst>
          </p:nvPr>
        </p:nvSpPr>
        <p:spPr>
          <a:xfrm>
            <a:off x="251520" y="3933056"/>
            <a:ext cx="718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%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065" name="TextBox 86064"/>
          <p:cNvSpPr txBox="1"/>
          <p:nvPr/>
        </p:nvSpPr>
        <p:spPr>
          <a:xfrm>
            <a:off x="696134" y="965424"/>
            <a:ext cx="7560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Три кита»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ной части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а–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ы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их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, налоги на имущество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ы от продажи имущества и земельных участков за 6 лет увеличат свою долю в собственных доходах бюджета </a:t>
            </a: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84 до 89 процентов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49"/>
            </p:custDataLst>
          </p:nvPr>
        </p:nvSpPr>
        <p:spPr bwMode="auto">
          <a:xfrm>
            <a:off x="755576" y="5589240"/>
            <a:ext cx="842963" cy="212725"/>
          </a:xfrm>
          <a:prstGeom prst="rect">
            <a:avLst/>
          </a:prstGeom>
          <a:noFill/>
          <a:ln w="1587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  <a:shade val="75000"/>
                    <a:satMod val="125000"/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27584" y="3429000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,8%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40352" y="3155177"/>
            <a:ext cx="723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,7%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27585" y="2981325"/>
            <a:ext cx="573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88,6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208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53899999999999990000E+000&quot;&gt;&lt;m_ppcolschidx val=&quot;0&quot;/&gt;&lt;m_rgb r=&quot;b6&quot; g=&quot;fc&quot; b=&quot;a9&quot;/&gt;&lt;/elem&gt;&lt;elem m_fUsage=&quot;1.00000000000000000000E+000&quot;&gt;&lt;m_ppcolschidx val=&quot;0&quot;/&gt;&lt;m_rgb r=&quot;fe&quot; g=&quot;d0&quot; b=&quot;c5&quot;/&gt;&lt;/elem&gt;&lt;elem m_fUsage=&quot;9.00000000000000020000E-001&quot;&gt;&lt;m_ppcolschidx val=&quot;0&quot;/&gt;&lt;m_rgb r=&quot;a&quot; g=&quot;c2&quot; b=&quot;38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qpoG5TBkaXBXJlsx4Z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07GFuWpk6dJEEzhxuUX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3_x._9L0mHJ6fsrSJd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3v3EYHa0S1f6Vs6wB1V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23aHdpKkawP2h0sAqB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VYo7T.8EmoL0QoXIMMR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eJ8cYRJ0mO4lEHnVR_A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Erng8XUqn36tJdCe4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ZZbegOv0aeKEyRiX1_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bjBrmnUS41G4MjQnfv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uuWQXwvEqi6KUhITtH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ADMMyGMUa79.XEYcaN_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OjNOzjk0unzbg5WS2T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_4hAYk0GA_9C.OfOLP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HSlEeoSUKiiwGIZ7nT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YQZPxWE66v4uMZ_3s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X9aCMfyUeZD.xwigOFv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csfgjEEaE0pb9EIf1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S52KLAkEGdSKDEGns_5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T9hweXEuF9oVOACYP1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C9vq4SYkWB2YZ0Kvg4A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FblipNc0GGu6sqv2j8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dHUEB12ESkaU6zXq4s6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IIxFkQEe83stvMXrfU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zDoamf0mvf7uROYXxa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pMmhZNjUeqOi.lWTzCi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6jSXPaikOQAw5mNHwER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16xddq0azhgjNxiicQ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93.8rfN0O_uhxFhYjt1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l8AWImgUOgNr_8IRVU1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WJSQVUy0CJurwV2Y8U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aR0TGaZ0CoQemsfNzc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A1HeU4kmM8dRVWzAY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81IIpW.Umeo1HfEZRs9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hxSEP_2UiSdoOfD2or3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wXfK1XpUiirQgrqJKn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T9hweXEuF9oVOACYP1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St2eg7VE2R8q0enPC0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CA3EhvDE.kUaZF3Byb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FkuGKU30W45KSjVrDd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WAUUbKREy5fuRWxV0W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J_u06rzkiihJ4sVL2a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J3mj0t.k676Njh8yHj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E79F7SjkOKQLMx4fLF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E79F7SjkOKQLMx4fLF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lNCutVt02qBUMc1p9b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r0ZMshaU2jRyUSDJ4I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2Uy.TohUyRn22AxNUH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nH_2YgOECUVMK_wD_s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Esx6LPdE2TZahgBGEf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hMKi5WoU2Rbg_S0XBl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k23ZU_Vky0_L2DpXDf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hslqpebE2cw0WbYTK.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_LH4tbwke4osaszycM3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gucXg_SEqm0qujLTn.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c69DZBikumiQ0G2chj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luowNRREKCTjqbLVjz8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lNCutVt02qBUMc1p9b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r0ZMshaU2jRyUSDJ4I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gkzT4QnESy6wZ6FXvy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_LH4tbwke4osaszycM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7EZMje0yB506BPXdk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7EZMje0yB506BPXdkA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.1Tvp3qE.Z1G_8PQBD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.1Tvp3qE.Z1G_8PQBDF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E79F7SjkOKQLMx4fLFf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nIQ183kuFO.pr2lNK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81IIpW.Umeo1HfEZRs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.1Tvp3qE.Z1G_8PQBD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Oqm7k1F0S9laq372PHn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Oqm7k1F0S9laq372PH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5r86VDUe7hcpJ6EAI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aGOz9za0Cb8gDkzC8f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kwBMJGlE.gONgPQLOL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4NLgkuH0qwxB979YFn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4NFNBhaUajHrymLPGtE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ZqueOAdEigHMfyoQ95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bQWmgEaUusuUjRbU.I9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4YN04CDk28MwC2ADGo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82GJfCN0qHZrsGL.KCL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ok62XEJ0e_0l6jQAZe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MA_BohukqfrEVCwUbk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UxAOjLuUuBdlRLNuQQ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B3VO.E1E6uSReCkJ5BS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Yc9E1HSE6dpIbi2YIuq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A7aDmKwkmo7FIYsFFHU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Волна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Волна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21973</TotalTime>
  <Words>2023</Words>
  <Application>Microsoft Office PowerPoint</Application>
  <PresentationFormat>Экран (4:3)</PresentationFormat>
  <Paragraphs>443</Paragraphs>
  <Slides>27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30" baseType="lpstr">
      <vt:lpstr>Волна</vt:lpstr>
      <vt:lpstr>think-cell Slide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невский А.Б.</dc:creator>
  <cp:lastModifiedBy>Пользователь Windows</cp:lastModifiedBy>
  <cp:revision>1243</cp:revision>
  <cp:lastPrinted>2021-12-08T08:50:21Z</cp:lastPrinted>
  <dcterms:modified xsi:type="dcterms:W3CDTF">2023-06-01T14:55:15Z</dcterms:modified>
</cp:coreProperties>
</file>